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60" r:id="rId2"/>
  </p:sldMasterIdLst>
  <p:notesMasterIdLst>
    <p:notesMasterId r:id="rId33"/>
  </p:notesMasterIdLst>
  <p:sldIdLst>
    <p:sldId id="258" r:id="rId3"/>
    <p:sldId id="259" r:id="rId4"/>
    <p:sldId id="291" r:id="rId5"/>
    <p:sldId id="260" r:id="rId6"/>
    <p:sldId id="261" r:id="rId7"/>
    <p:sldId id="264" r:id="rId8"/>
    <p:sldId id="266" r:id="rId9"/>
    <p:sldId id="268" r:id="rId10"/>
    <p:sldId id="269" r:id="rId11"/>
    <p:sldId id="292" r:id="rId12"/>
    <p:sldId id="262" r:id="rId13"/>
    <p:sldId id="263" r:id="rId14"/>
    <p:sldId id="265" r:id="rId15"/>
    <p:sldId id="270" r:id="rId16"/>
    <p:sldId id="279" r:id="rId17"/>
    <p:sldId id="280" r:id="rId18"/>
    <p:sldId id="293" r:id="rId19"/>
    <p:sldId id="287" r:id="rId20"/>
    <p:sldId id="290" r:id="rId21"/>
    <p:sldId id="267" r:id="rId22"/>
    <p:sldId id="272" r:id="rId23"/>
    <p:sldId id="273" r:id="rId24"/>
    <p:sldId id="274" r:id="rId25"/>
    <p:sldId id="294" r:id="rId26"/>
    <p:sldId id="275" r:id="rId27"/>
    <p:sldId id="286" r:id="rId28"/>
    <p:sldId id="276" r:id="rId29"/>
    <p:sldId id="284" r:id="rId30"/>
    <p:sldId id="277" r:id="rId31"/>
    <p:sldId id="295" r:id="rId32"/>
  </p:sldIdLst>
  <p:sldSz cx="8999538" cy="5040313"/>
  <p:notesSz cx="6858000" cy="9144000"/>
  <p:custDataLst>
    <p:tags r:id="rId34"/>
  </p:custDataLst>
  <p:defaultTextStyle>
    <a:defPPr>
      <a:defRPr lang="zh-CN"/>
    </a:defPPr>
    <a:lvl1pPr marL="0" algn="l" defTabSz="673735" rtl="0" eaLnBrk="1" latinLnBrk="0" hangingPunct="1">
      <a:defRPr sz="1325" kern="1200">
        <a:solidFill>
          <a:schemeClr val="tx1"/>
        </a:solidFill>
        <a:latin typeface="+mn-lt"/>
        <a:ea typeface="+mn-ea"/>
        <a:cs typeface="+mn-cs"/>
      </a:defRPr>
    </a:lvl1pPr>
    <a:lvl2pPr marL="337185" algn="l" defTabSz="673735" rtl="0" eaLnBrk="1" latinLnBrk="0" hangingPunct="1">
      <a:defRPr sz="1325" kern="1200">
        <a:solidFill>
          <a:schemeClr val="tx1"/>
        </a:solidFill>
        <a:latin typeface="+mn-lt"/>
        <a:ea typeface="+mn-ea"/>
        <a:cs typeface="+mn-cs"/>
      </a:defRPr>
    </a:lvl2pPr>
    <a:lvl3pPr marL="673735" algn="l" defTabSz="673735" rtl="0" eaLnBrk="1" latinLnBrk="0" hangingPunct="1">
      <a:defRPr sz="1325" kern="1200">
        <a:solidFill>
          <a:schemeClr val="tx1"/>
        </a:solidFill>
        <a:latin typeface="+mn-lt"/>
        <a:ea typeface="+mn-ea"/>
        <a:cs typeface="+mn-cs"/>
      </a:defRPr>
    </a:lvl3pPr>
    <a:lvl4pPr marL="1010920" algn="l" defTabSz="673735" rtl="0" eaLnBrk="1" latinLnBrk="0" hangingPunct="1">
      <a:defRPr sz="1325" kern="1200">
        <a:solidFill>
          <a:schemeClr val="tx1"/>
        </a:solidFill>
        <a:latin typeface="+mn-lt"/>
        <a:ea typeface="+mn-ea"/>
        <a:cs typeface="+mn-cs"/>
      </a:defRPr>
    </a:lvl4pPr>
    <a:lvl5pPr marL="1348105" algn="l" defTabSz="673735" rtl="0" eaLnBrk="1" latinLnBrk="0" hangingPunct="1">
      <a:defRPr sz="1325" kern="1200">
        <a:solidFill>
          <a:schemeClr val="tx1"/>
        </a:solidFill>
        <a:latin typeface="+mn-lt"/>
        <a:ea typeface="+mn-ea"/>
        <a:cs typeface="+mn-cs"/>
      </a:defRPr>
    </a:lvl5pPr>
    <a:lvl6pPr marL="1684655" algn="l" defTabSz="673735" rtl="0" eaLnBrk="1" latinLnBrk="0" hangingPunct="1">
      <a:defRPr sz="1325" kern="1200">
        <a:solidFill>
          <a:schemeClr val="tx1"/>
        </a:solidFill>
        <a:latin typeface="+mn-lt"/>
        <a:ea typeface="+mn-ea"/>
        <a:cs typeface="+mn-cs"/>
      </a:defRPr>
    </a:lvl6pPr>
    <a:lvl7pPr marL="2021840" algn="l" defTabSz="673735" rtl="0" eaLnBrk="1" latinLnBrk="0" hangingPunct="1">
      <a:defRPr sz="1325" kern="1200">
        <a:solidFill>
          <a:schemeClr val="tx1"/>
        </a:solidFill>
        <a:latin typeface="+mn-lt"/>
        <a:ea typeface="+mn-ea"/>
        <a:cs typeface="+mn-cs"/>
      </a:defRPr>
    </a:lvl7pPr>
    <a:lvl8pPr marL="2358390" algn="l" defTabSz="673735" rtl="0" eaLnBrk="1" latinLnBrk="0" hangingPunct="1">
      <a:defRPr sz="1325" kern="1200">
        <a:solidFill>
          <a:schemeClr val="tx1"/>
        </a:solidFill>
        <a:latin typeface="+mn-lt"/>
        <a:ea typeface="+mn-ea"/>
        <a:cs typeface="+mn-cs"/>
      </a:defRPr>
    </a:lvl8pPr>
    <a:lvl9pPr marL="2695575" algn="l" defTabSz="673735" rtl="0" eaLnBrk="1" latinLnBrk="0" hangingPunct="1">
      <a:defRPr sz="1325"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06DC1"/>
    <a:srgbClr val="2C53B6"/>
    <a:srgbClr val="895A95"/>
    <a:srgbClr val="60A177"/>
    <a:srgbClr val="DE353E"/>
    <a:srgbClr val="3879A8"/>
    <a:srgbClr val="A9AF5C"/>
    <a:srgbClr val="CDDBDE"/>
    <a:srgbClr val="F4F4F4"/>
    <a:srgbClr val="C9C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231" autoAdjust="0"/>
    <p:restoredTop sz="94270" autoAdjust="0"/>
  </p:normalViewPr>
  <p:slideViewPr>
    <p:cSldViewPr snapToGrid="0">
      <p:cViewPr varScale="1">
        <p:scale>
          <a:sx n="112" d="100"/>
          <a:sy n="112" d="100"/>
        </p:scale>
        <p:origin x="570"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A913FB-345D-4254-B56B-50FB52097078}"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74688" y="1143000"/>
            <a:ext cx="55086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E35D8B-BD24-444C-B0DE-C77FCFE45292}"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673735" rtl="0" eaLnBrk="1" latinLnBrk="0" hangingPunct="1">
      <a:defRPr sz="885" kern="1200">
        <a:solidFill>
          <a:schemeClr val="tx1"/>
        </a:solidFill>
        <a:latin typeface="+mn-lt"/>
        <a:ea typeface="+mn-ea"/>
        <a:cs typeface="+mn-cs"/>
      </a:defRPr>
    </a:lvl1pPr>
    <a:lvl2pPr marL="337185" algn="l" defTabSz="673735" rtl="0" eaLnBrk="1" latinLnBrk="0" hangingPunct="1">
      <a:defRPr sz="885" kern="1200">
        <a:solidFill>
          <a:schemeClr val="tx1"/>
        </a:solidFill>
        <a:latin typeface="+mn-lt"/>
        <a:ea typeface="+mn-ea"/>
        <a:cs typeface="+mn-cs"/>
      </a:defRPr>
    </a:lvl2pPr>
    <a:lvl3pPr marL="673735" algn="l" defTabSz="673735" rtl="0" eaLnBrk="1" latinLnBrk="0" hangingPunct="1">
      <a:defRPr sz="885" kern="1200">
        <a:solidFill>
          <a:schemeClr val="tx1"/>
        </a:solidFill>
        <a:latin typeface="+mn-lt"/>
        <a:ea typeface="+mn-ea"/>
        <a:cs typeface="+mn-cs"/>
      </a:defRPr>
    </a:lvl3pPr>
    <a:lvl4pPr marL="1010920" algn="l" defTabSz="673735" rtl="0" eaLnBrk="1" latinLnBrk="0" hangingPunct="1">
      <a:defRPr sz="885" kern="1200">
        <a:solidFill>
          <a:schemeClr val="tx1"/>
        </a:solidFill>
        <a:latin typeface="+mn-lt"/>
        <a:ea typeface="+mn-ea"/>
        <a:cs typeface="+mn-cs"/>
      </a:defRPr>
    </a:lvl4pPr>
    <a:lvl5pPr marL="1348105" algn="l" defTabSz="673735" rtl="0" eaLnBrk="1" latinLnBrk="0" hangingPunct="1">
      <a:defRPr sz="885" kern="1200">
        <a:solidFill>
          <a:schemeClr val="tx1"/>
        </a:solidFill>
        <a:latin typeface="+mn-lt"/>
        <a:ea typeface="+mn-ea"/>
        <a:cs typeface="+mn-cs"/>
      </a:defRPr>
    </a:lvl5pPr>
    <a:lvl6pPr marL="1684655" algn="l" defTabSz="673735" rtl="0" eaLnBrk="1" latinLnBrk="0" hangingPunct="1">
      <a:defRPr sz="885" kern="1200">
        <a:solidFill>
          <a:schemeClr val="tx1"/>
        </a:solidFill>
        <a:latin typeface="+mn-lt"/>
        <a:ea typeface="+mn-ea"/>
        <a:cs typeface="+mn-cs"/>
      </a:defRPr>
    </a:lvl6pPr>
    <a:lvl7pPr marL="2021840" algn="l" defTabSz="673735" rtl="0" eaLnBrk="1" latinLnBrk="0" hangingPunct="1">
      <a:defRPr sz="885" kern="1200">
        <a:solidFill>
          <a:schemeClr val="tx1"/>
        </a:solidFill>
        <a:latin typeface="+mn-lt"/>
        <a:ea typeface="+mn-ea"/>
        <a:cs typeface="+mn-cs"/>
      </a:defRPr>
    </a:lvl7pPr>
    <a:lvl8pPr marL="2358390" algn="l" defTabSz="673735" rtl="0" eaLnBrk="1" latinLnBrk="0" hangingPunct="1">
      <a:defRPr sz="885" kern="1200">
        <a:solidFill>
          <a:schemeClr val="tx1"/>
        </a:solidFill>
        <a:latin typeface="+mn-lt"/>
        <a:ea typeface="+mn-ea"/>
        <a:cs typeface="+mn-cs"/>
      </a:defRPr>
    </a:lvl8pPr>
    <a:lvl9pPr marL="2695575" algn="l" defTabSz="673735" rtl="0" eaLnBrk="1" latinLnBrk="0" hangingPunct="1">
      <a:defRPr sz="88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8</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9</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3</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30</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24942" y="824885"/>
            <a:ext cx="6749654" cy="1754776"/>
          </a:xfrm>
        </p:spPr>
        <p:txBody>
          <a:bodyPr anchor="b"/>
          <a:lstStyle>
            <a:lvl1pPr algn="ctr">
              <a:defRPr sz="4410"/>
            </a:lvl1pPr>
          </a:lstStyle>
          <a:p>
            <a:r>
              <a:rPr lang="zh-CN" altLang="en-US"/>
              <a:t>单击此处编辑母版标题样式</a:t>
            </a:r>
          </a:p>
        </p:txBody>
      </p:sp>
      <p:sp>
        <p:nvSpPr>
          <p:cNvPr id="3" name="副标题 2"/>
          <p:cNvSpPr>
            <a:spLocks noGrp="1"/>
          </p:cNvSpPr>
          <p:nvPr>
            <p:ph type="subTitle" idx="1"/>
          </p:nvPr>
        </p:nvSpPr>
        <p:spPr>
          <a:xfrm>
            <a:off x="1124942" y="2647331"/>
            <a:ext cx="6749654" cy="1216909"/>
          </a:xfrm>
        </p:spPr>
        <p:txBody>
          <a:bodyPr/>
          <a:lstStyle>
            <a:lvl1pPr marL="0" indent="0" algn="ctr">
              <a:buNone/>
              <a:defRPr sz="1765"/>
            </a:lvl1pPr>
            <a:lvl2pPr marL="335915" indent="0" algn="ctr">
              <a:buNone/>
              <a:defRPr sz="1470"/>
            </a:lvl2pPr>
            <a:lvl3pPr marL="671830" indent="0" algn="ctr">
              <a:buNone/>
              <a:defRPr sz="1325"/>
            </a:lvl3pPr>
            <a:lvl4pPr marL="1008380" indent="0" algn="ctr">
              <a:buNone/>
              <a:defRPr sz="1175"/>
            </a:lvl4pPr>
            <a:lvl5pPr marL="1344295" indent="0" algn="ctr">
              <a:buNone/>
              <a:defRPr sz="1175"/>
            </a:lvl5pPr>
            <a:lvl6pPr marL="1680210" indent="0" algn="ctr">
              <a:buNone/>
              <a:defRPr sz="1175"/>
            </a:lvl6pPr>
            <a:lvl7pPr marL="2016125" indent="0" algn="ctr">
              <a:buNone/>
              <a:defRPr sz="1175"/>
            </a:lvl7pPr>
            <a:lvl8pPr marL="2352040" indent="0" algn="ctr">
              <a:buNone/>
              <a:defRPr sz="1175"/>
            </a:lvl8pPr>
            <a:lvl9pPr marL="2688590" indent="0" algn="ctr">
              <a:buNone/>
              <a:defRPr sz="1175"/>
            </a:lvl9pPr>
          </a:lstStyle>
          <a:p>
            <a:r>
              <a:rPr lang="zh-CN" altLang="en-US"/>
              <a:t>单击此处编辑母版副标题样式</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440295" y="268350"/>
            <a:ext cx="1940525" cy="427143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18718" y="268350"/>
            <a:ext cx="5709082" cy="427143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4942" y="824885"/>
            <a:ext cx="6749654" cy="1754776"/>
          </a:xfrm>
        </p:spPr>
        <p:txBody>
          <a:bodyPr anchor="b"/>
          <a:lstStyle>
            <a:lvl1pPr algn="ctr">
              <a:defRPr sz="4410"/>
            </a:lvl1pPr>
          </a:lstStyle>
          <a:p>
            <a:r>
              <a:rPr lang="zh-CN" altLang="en-US"/>
              <a:t>单击此处编辑母版标题样式</a:t>
            </a:r>
            <a:endParaRPr lang="en-US" dirty="0"/>
          </a:p>
        </p:txBody>
      </p:sp>
      <p:sp>
        <p:nvSpPr>
          <p:cNvPr id="3" name="Subtitle 2"/>
          <p:cNvSpPr>
            <a:spLocks noGrp="1"/>
          </p:cNvSpPr>
          <p:nvPr>
            <p:ph type="subTitle" idx="1" hasCustomPrompt="1"/>
          </p:nvPr>
        </p:nvSpPr>
        <p:spPr>
          <a:xfrm>
            <a:off x="1124942" y="2647331"/>
            <a:ext cx="6749654" cy="1216909"/>
          </a:xfrm>
        </p:spPr>
        <p:txBody>
          <a:bodyPr/>
          <a:lstStyle>
            <a:lvl1pPr marL="0" indent="0" algn="ctr">
              <a:buNone/>
              <a:defRPr sz="1765"/>
            </a:lvl1pPr>
            <a:lvl2pPr marL="335915" indent="0" algn="ctr">
              <a:buNone/>
              <a:defRPr sz="1470"/>
            </a:lvl2pPr>
            <a:lvl3pPr marL="671830" indent="0" algn="ctr">
              <a:buNone/>
              <a:defRPr sz="1325"/>
            </a:lvl3pPr>
            <a:lvl4pPr marL="1008380" indent="0" algn="ctr">
              <a:buNone/>
              <a:defRPr sz="1175"/>
            </a:lvl4pPr>
            <a:lvl5pPr marL="1344295" indent="0" algn="ctr">
              <a:buNone/>
              <a:defRPr sz="1175"/>
            </a:lvl5pPr>
            <a:lvl6pPr marL="1680210" indent="0" algn="ctr">
              <a:buNone/>
              <a:defRPr sz="1175"/>
            </a:lvl6pPr>
            <a:lvl7pPr marL="2016125" indent="0" algn="ctr">
              <a:buNone/>
              <a:defRPr sz="1175"/>
            </a:lvl7pPr>
            <a:lvl8pPr marL="2352040" indent="0" algn="ctr">
              <a:buNone/>
              <a:defRPr sz="1175"/>
            </a:lvl8pPr>
            <a:lvl9pPr marL="2688590" indent="0" algn="ctr">
              <a:buNone/>
              <a:defRPr sz="1175"/>
            </a:lvl9pPr>
          </a:lstStyle>
          <a:p>
            <a:r>
              <a:rPr lang="zh-CN" altLang="en-US"/>
              <a:t>单击以编辑母版副标题样式</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031" y="1256579"/>
            <a:ext cx="7762102" cy="2096630"/>
          </a:xfrm>
        </p:spPr>
        <p:txBody>
          <a:bodyPr anchor="b"/>
          <a:lstStyle>
            <a:lvl1pPr>
              <a:defRPr sz="441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14031" y="3373044"/>
            <a:ext cx="7762102" cy="1102568"/>
          </a:xfrm>
        </p:spPr>
        <p:txBody>
          <a:bodyPr/>
          <a:lstStyle>
            <a:lvl1pPr marL="0" indent="0">
              <a:buNone/>
              <a:defRPr sz="1765">
                <a:solidFill>
                  <a:schemeClr val="tx1">
                    <a:tint val="75000"/>
                  </a:schemeClr>
                </a:solidFill>
              </a:defRPr>
            </a:lvl1pPr>
            <a:lvl2pPr marL="335915" indent="0">
              <a:buNone/>
              <a:defRPr sz="1470">
                <a:solidFill>
                  <a:schemeClr val="tx1">
                    <a:tint val="75000"/>
                  </a:schemeClr>
                </a:solidFill>
              </a:defRPr>
            </a:lvl2pPr>
            <a:lvl3pPr marL="671830" indent="0">
              <a:buNone/>
              <a:defRPr sz="1325">
                <a:solidFill>
                  <a:schemeClr val="tx1">
                    <a:tint val="75000"/>
                  </a:schemeClr>
                </a:solidFill>
              </a:defRPr>
            </a:lvl3pPr>
            <a:lvl4pPr marL="1008380" indent="0">
              <a:buNone/>
              <a:defRPr sz="1175">
                <a:solidFill>
                  <a:schemeClr val="tx1">
                    <a:tint val="75000"/>
                  </a:schemeClr>
                </a:solidFill>
              </a:defRPr>
            </a:lvl4pPr>
            <a:lvl5pPr marL="1344295" indent="0">
              <a:buNone/>
              <a:defRPr sz="1175">
                <a:solidFill>
                  <a:schemeClr val="tx1">
                    <a:tint val="75000"/>
                  </a:schemeClr>
                </a:solidFill>
              </a:defRPr>
            </a:lvl5pPr>
            <a:lvl6pPr marL="1680210" indent="0">
              <a:buNone/>
              <a:defRPr sz="1175">
                <a:solidFill>
                  <a:schemeClr val="tx1">
                    <a:tint val="75000"/>
                  </a:schemeClr>
                </a:solidFill>
              </a:defRPr>
            </a:lvl6pPr>
            <a:lvl7pPr marL="2016125" indent="0">
              <a:buNone/>
              <a:defRPr sz="1175">
                <a:solidFill>
                  <a:schemeClr val="tx1">
                    <a:tint val="75000"/>
                  </a:schemeClr>
                </a:solidFill>
              </a:defRPr>
            </a:lvl7pPr>
            <a:lvl8pPr marL="2352040" indent="0">
              <a:buNone/>
              <a:defRPr sz="1175">
                <a:solidFill>
                  <a:schemeClr val="tx1">
                    <a:tint val="75000"/>
                  </a:schemeClr>
                </a:solidFill>
              </a:defRPr>
            </a:lvl8pPr>
            <a:lvl9pPr marL="2688590" indent="0">
              <a:buNone/>
              <a:defRPr sz="1175">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618718" y="1341750"/>
            <a:ext cx="3824804" cy="319803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hasCustomPrompt="1"/>
          </p:nvPr>
        </p:nvSpPr>
        <p:spPr>
          <a:xfrm>
            <a:off x="4556016" y="1341750"/>
            <a:ext cx="3824804" cy="319803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19890" y="268350"/>
            <a:ext cx="7762102" cy="974228"/>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19891" y="1235577"/>
            <a:ext cx="380722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编辑母版文本样式</a:t>
            </a:r>
          </a:p>
        </p:txBody>
      </p:sp>
      <p:sp>
        <p:nvSpPr>
          <p:cNvPr id="4" name="Content Placeholder 3"/>
          <p:cNvSpPr>
            <a:spLocks noGrp="1"/>
          </p:cNvSpPr>
          <p:nvPr>
            <p:ph sz="half" idx="2" hasCustomPrompt="1"/>
          </p:nvPr>
        </p:nvSpPr>
        <p:spPr>
          <a:xfrm>
            <a:off x="619891" y="1841114"/>
            <a:ext cx="3807226" cy="270800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hasCustomPrompt="1"/>
          </p:nvPr>
        </p:nvSpPr>
        <p:spPr>
          <a:xfrm>
            <a:off x="4556016" y="1235577"/>
            <a:ext cx="382597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编辑母版文本样式</a:t>
            </a:r>
          </a:p>
        </p:txBody>
      </p:sp>
      <p:sp>
        <p:nvSpPr>
          <p:cNvPr id="6" name="Content Placeholder 5"/>
          <p:cNvSpPr>
            <a:spLocks noGrp="1"/>
          </p:cNvSpPr>
          <p:nvPr>
            <p:ph sz="quarter" idx="4" hasCustomPrompt="1"/>
          </p:nvPr>
        </p:nvSpPr>
        <p:spPr>
          <a:xfrm>
            <a:off x="4556016" y="1841114"/>
            <a:ext cx="3825976" cy="270800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3825976" y="725712"/>
            <a:ext cx="4556016" cy="3581889"/>
          </a:xfrm>
        </p:spPr>
        <p:txBody>
          <a:bodyPr/>
          <a:lstStyle>
            <a:lvl1pPr>
              <a:defRPr sz="2350"/>
            </a:lvl1pPr>
            <a:lvl2pPr>
              <a:defRPr sz="2060"/>
            </a:lvl2pPr>
            <a:lvl3pPr>
              <a:defRPr sz="1765"/>
            </a:lvl3pPr>
            <a:lvl4pPr>
              <a:defRPr sz="1470"/>
            </a:lvl4pPr>
            <a:lvl5pPr>
              <a:defRPr sz="1470"/>
            </a:lvl5pPr>
            <a:lvl6pPr>
              <a:defRPr sz="1470"/>
            </a:lvl6pPr>
            <a:lvl7pPr>
              <a:defRPr sz="1470"/>
            </a:lvl7pPr>
            <a:lvl8pPr>
              <a:defRPr sz="1470"/>
            </a:lvl8pPr>
            <a:lvl9pPr>
              <a:defRPr sz="147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hasCustomPrompt="1"/>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编辑母版文本样式</a:t>
            </a:r>
          </a:p>
        </p:txBody>
      </p:sp>
      <p:sp>
        <p:nvSpPr>
          <p:cNvPr id="5" name="Date Placeholder 4"/>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25976" y="725712"/>
            <a:ext cx="4556016" cy="3581889"/>
          </a:xfrm>
        </p:spPr>
        <p:txBody>
          <a:bodyPr anchor="t"/>
          <a:lstStyle>
            <a:lvl1pPr marL="0" indent="0">
              <a:buNone/>
              <a:defRPr sz="2350"/>
            </a:lvl1pPr>
            <a:lvl2pPr marL="335915" indent="0">
              <a:buNone/>
              <a:defRPr sz="2060"/>
            </a:lvl2pPr>
            <a:lvl3pPr marL="671830" indent="0">
              <a:buNone/>
              <a:defRPr sz="1765"/>
            </a:lvl3pPr>
            <a:lvl4pPr marL="1008380" indent="0">
              <a:buNone/>
              <a:defRPr sz="1470"/>
            </a:lvl4pPr>
            <a:lvl5pPr marL="1344295" indent="0">
              <a:buNone/>
              <a:defRPr sz="1470"/>
            </a:lvl5pPr>
            <a:lvl6pPr marL="1680210" indent="0">
              <a:buNone/>
              <a:defRPr sz="1470"/>
            </a:lvl6pPr>
            <a:lvl7pPr marL="2016125" indent="0">
              <a:buNone/>
              <a:defRPr sz="1470"/>
            </a:lvl7pPr>
            <a:lvl8pPr marL="2352040" indent="0">
              <a:buNone/>
              <a:defRPr sz="1470"/>
            </a:lvl8pPr>
            <a:lvl9pPr marL="2688590" indent="0">
              <a:buNone/>
              <a:defRPr sz="147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编辑母版文本样式</a:t>
            </a:r>
          </a:p>
        </p:txBody>
      </p:sp>
      <p:sp>
        <p:nvSpPr>
          <p:cNvPr id="5" name="Date Placeholder 4"/>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0295" y="268350"/>
            <a:ext cx="1940525" cy="4271432"/>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618718" y="268350"/>
            <a:ext cx="5709082" cy="4271432"/>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14031" y="1256579"/>
            <a:ext cx="7762102" cy="2096630"/>
          </a:xfrm>
        </p:spPr>
        <p:txBody>
          <a:bodyPr anchor="b"/>
          <a:lstStyle>
            <a:lvl1pPr>
              <a:defRPr sz="4410"/>
            </a:lvl1pPr>
          </a:lstStyle>
          <a:p>
            <a:r>
              <a:rPr lang="zh-CN" altLang="en-US"/>
              <a:t>单击此处编辑母版标题样式</a:t>
            </a:r>
          </a:p>
        </p:txBody>
      </p:sp>
      <p:sp>
        <p:nvSpPr>
          <p:cNvPr id="3" name="文本占位符 2"/>
          <p:cNvSpPr>
            <a:spLocks noGrp="1"/>
          </p:cNvSpPr>
          <p:nvPr>
            <p:ph type="body" idx="1"/>
          </p:nvPr>
        </p:nvSpPr>
        <p:spPr>
          <a:xfrm>
            <a:off x="614031" y="3373044"/>
            <a:ext cx="7762102" cy="1102568"/>
          </a:xfrm>
        </p:spPr>
        <p:txBody>
          <a:bodyPr/>
          <a:lstStyle>
            <a:lvl1pPr marL="0" indent="0">
              <a:buNone/>
              <a:defRPr sz="1765">
                <a:solidFill>
                  <a:schemeClr val="tx1">
                    <a:tint val="75000"/>
                  </a:schemeClr>
                </a:solidFill>
              </a:defRPr>
            </a:lvl1pPr>
            <a:lvl2pPr marL="335915" indent="0">
              <a:buNone/>
              <a:defRPr sz="1470">
                <a:solidFill>
                  <a:schemeClr val="tx1">
                    <a:tint val="75000"/>
                  </a:schemeClr>
                </a:solidFill>
              </a:defRPr>
            </a:lvl2pPr>
            <a:lvl3pPr marL="671830" indent="0">
              <a:buNone/>
              <a:defRPr sz="1325">
                <a:solidFill>
                  <a:schemeClr val="tx1">
                    <a:tint val="75000"/>
                  </a:schemeClr>
                </a:solidFill>
              </a:defRPr>
            </a:lvl3pPr>
            <a:lvl4pPr marL="1008380" indent="0">
              <a:buNone/>
              <a:defRPr sz="1175">
                <a:solidFill>
                  <a:schemeClr val="tx1">
                    <a:tint val="75000"/>
                  </a:schemeClr>
                </a:solidFill>
              </a:defRPr>
            </a:lvl4pPr>
            <a:lvl5pPr marL="1344295" indent="0">
              <a:buNone/>
              <a:defRPr sz="1175">
                <a:solidFill>
                  <a:schemeClr val="tx1">
                    <a:tint val="75000"/>
                  </a:schemeClr>
                </a:solidFill>
              </a:defRPr>
            </a:lvl5pPr>
            <a:lvl6pPr marL="1680210" indent="0">
              <a:buNone/>
              <a:defRPr sz="1175">
                <a:solidFill>
                  <a:schemeClr val="tx1">
                    <a:tint val="75000"/>
                  </a:schemeClr>
                </a:solidFill>
              </a:defRPr>
            </a:lvl6pPr>
            <a:lvl7pPr marL="2016125" indent="0">
              <a:buNone/>
              <a:defRPr sz="1175">
                <a:solidFill>
                  <a:schemeClr val="tx1">
                    <a:tint val="75000"/>
                  </a:schemeClr>
                </a:solidFill>
              </a:defRPr>
            </a:lvl7pPr>
            <a:lvl8pPr marL="2352040" indent="0">
              <a:buNone/>
              <a:defRPr sz="1175">
                <a:solidFill>
                  <a:schemeClr val="tx1">
                    <a:tint val="75000"/>
                  </a:schemeClr>
                </a:solidFill>
              </a:defRPr>
            </a:lvl8pPr>
            <a:lvl9pPr marL="2688590" indent="0">
              <a:buNone/>
              <a:defRPr sz="1175">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18718" y="1341750"/>
            <a:ext cx="3824804" cy="319803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556016" y="1341750"/>
            <a:ext cx="3824804" cy="319803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19890" y="268350"/>
            <a:ext cx="7762102" cy="974228"/>
          </a:xfrm>
        </p:spPr>
        <p:txBody>
          <a:bodyPr/>
          <a:lstStyle/>
          <a:p>
            <a:r>
              <a:rPr lang="zh-CN" altLang="en-US"/>
              <a:t>单击此处编辑母版标题样式</a:t>
            </a:r>
          </a:p>
        </p:txBody>
      </p:sp>
      <p:sp>
        <p:nvSpPr>
          <p:cNvPr id="3" name="文本占位符 2"/>
          <p:cNvSpPr>
            <a:spLocks noGrp="1"/>
          </p:cNvSpPr>
          <p:nvPr>
            <p:ph type="body" idx="1"/>
          </p:nvPr>
        </p:nvSpPr>
        <p:spPr>
          <a:xfrm>
            <a:off x="619891" y="1235577"/>
            <a:ext cx="380722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单击此处编辑母版文本样式</a:t>
            </a:r>
          </a:p>
        </p:txBody>
      </p:sp>
      <p:sp>
        <p:nvSpPr>
          <p:cNvPr id="4" name="内容占位符 3"/>
          <p:cNvSpPr>
            <a:spLocks noGrp="1"/>
          </p:cNvSpPr>
          <p:nvPr>
            <p:ph sz="half" idx="2"/>
          </p:nvPr>
        </p:nvSpPr>
        <p:spPr>
          <a:xfrm>
            <a:off x="619891" y="1841114"/>
            <a:ext cx="3807226" cy="270800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556016" y="1235577"/>
            <a:ext cx="3825976" cy="605537"/>
          </a:xfrm>
        </p:spPr>
        <p:txBody>
          <a:bodyPr anchor="b"/>
          <a:lstStyle>
            <a:lvl1pPr marL="0" indent="0">
              <a:buNone/>
              <a:defRPr sz="1765" b="1"/>
            </a:lvl1pPr>
            <a:lvl2pPr marL="335915" indent="0">
              <a:buNone/>
              <a:defRPr sz="1470" b="1"/>
            </a:lvl2pPr>
            <a:lvl3pPr marL="671830" indent="0">
              <a:buNone/>
              <a:defRPr sz="1325" b="1"/>
            </a:lvl3pPr>
            <a:lvl4pPr marL="1008380" indent="0">
              <a:buNone/>
              <a:defRPr sz="1175" b="1"/>
            </a:lvl4pPr>
            <a:lvl5pPr marL="1344295" indent="0">
              <a:buNone/>
              <a:defRPr sz="1175" b="1"/>
            </a:lvl5pPr>
            <a:lvl6pPr marL="1680210" indent="0">
              <a:buNone/>
              <a:defRPr sz="1175" b="1"/>
            </a:lvl6pPr>
            <a:lvl7pPr marL="2016125" indent="0">
              <a:buNone/>
              <a:defRPr sz="1175" b="1"/>
            </a:lvl7pPr>
            <a:lvl8pPr marL="2352040" indent="0">
              <a:buNone/>
              <a:defRPr sz="1175" b="1"/>
            </a:lvl8pPr>
            <a:lvl9pPr marL="2688590" indent="0">
              <a:buNone/>
              <a:defRPr sz="1175" b="1"/>
            </a:lvl9pPr>
          </a:lstStyle>
          <a:p>
            <a:pPr lvl="0"/>
            <a:r>
              <a:rPr lang="zh-CN" altLang="en-US"/>
              <a:t>单击此处编辑母版文本样式</a:t>
            </a:r>
          </a:p>
        </p:txBody>
      </p:sp>
      <p:sp>
        <p:nvSpPr>
          <p:cNvPr id="6" name="内容占位符 5"/>
          <p:cNvSpPr>
            <a:spLocks noGrp="1"/>
          </p:cNvSpPr>
          <p:nvPr>
            <p:ph sz="quarter" idx="4"/>
          </p:nvPr>
        </p:nvSpPr>
        <p:spPr>
          <a:xfrm>
            <a:off x="4556016" y="1841114"/>
            <a:ext cx="3825976" cy="270800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p>
        </p:txBody>
      </p:sp>
      <p:sp>
        <p:nvSpPr>
          <p:cNvPr id="3" name="内容占位符 2"/>
          <p:cNvSpPr>
            <a:spLocks noGrp="1"/>
          </p:cNvSpPr>
          <p:nvPr>
            <p:ph idx="1"/>
          </p:nvPr>
        </p:nvSpPr>
        <p:spPr>
          <a:xfrm>
            <a:off x="3825976" y="725712"/>
            <a:ext cx="4556016" cy="3581889"/>
          </a:xfrm>
        </p:spPr>
        <p:txBody>
          <a:bodyPr/>
          <a:lstStyle>
            <a:lvl1pPr>
              <a:defRPr sz="2350"/>
            </a:lvl1pPr>
            <a:lvl2pPr>
              <a:defRPr sz="2060"/>
            </a:lvl2pPr>
            <a:lvl3pPr>
              <a:defRPr sz="1765"/>
            </a:lvl3pPr>
            <a:lvl4pPr>
              <a:defRPr sz="1470"/>
            </a:lvl4pPr>
            <a:lvl5pPr>
              <a:defRPr sz="1470"/>
            </a:lvl5pPr>
            <a:lvl6pPr>
              <a:defRPr sz="1470"/>
            </a:lvl6pPr>
            <a:lvl7pPr>
              <a:defRPr sz="1470"/>
            </a:lvl7pPr>
            <a:lvl8pPr>
              <a:defRPr sz="1470"/>
            </a:lvl8pPr>
            <a:lvl9pPr>
              <a:defRPr sz="147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19891" y="336021"/>
            <a:ext cx="2902585" cy="1176073"/>
          </a:xfrm>
        </p:spPr>
        <p:txBody>
          <a:bodyPr anchor="b"/>
          <a:lstStyle>
            <a:lvl1pPr>
              <a:defRPr sz="2350"/>
            </a:lvl1pPr>
          </a:lstStyle>
          <a:p>
            <a:r>
              <a:rPr lang="zh-CN" altLang="en-US"/>
              <a:t>单击此处编辑母版标题样式</a:t>
            </a:r>
          </a:p>
        </p:txBody>
      </p:sp>
      <p:sp>
        <p:nvSpPr>
          <p:cNvPr id="3" name="图片占位符 2"/>
          <p:cNvSpPr>
            <a:spLocks noGrp="1"/>
          </p:cNvSpPr>
          <p:nvPr>
            <p:ph type="pic" idx="1"/>
          </p:nvPr>
        </p:nvSpPr>
        <p:spPr>
          <a:xfrm>
            <a:off x="3825976" y="725712"/>
            <a:ext cx="4556016" cy="3581889"/>
          </a:xfrm>
        </p:spPr>
        <p:txBody>
          <a:bodyPr/>
          <a:lstStyle>
            <a:lvl1pPr marL="0" indent="0">
              <a:buNone/>
              <a:defRPr sz="2350"/>
            </a:lvl1pPr>
            <a:lvl2pPr marL="335915" indent="0">
              <a:buNone/>
              <a:defRPr sz="2060"/>
            </a:lvl2pPr>
            <a:lvl3pPr marL="671830" indent="0">
              <a:buNone/>
              <a:defRPr sz="1765"/>
            </a:lvl3pPr>
            <a:lvl4pPr marL="1008380" indent="0">
              <a:buNone/>
              <a:defRPr sz="1470"/>
            </a:lvl4pPr>
            <a:lvl5pPr marL="1344295" indent="0">
              <a:buNone/>
              <a:defRPr sz="1470"/>
            </a:lvl5pPr>
            <a:lvl6pPr marL="1680210" indent="0">
              <a:buNone/>
              <a:defRPr sz="1470"/>
            </a:lvl6pPr>
            <a:lvl7pPr marL="2016125" indent="0">
              <a:buNone/>
              <a:defRPr sz="1470"/>
            </a:lvl7pPr>
            <a:lvl8pPr marL="2352040" indent="0">
              <a:buNone/>
              <a:defRPr sz="1470"/>
            </a:lvl8pPr>
            <a:lvl9pPr marL="2688590" indent="0">
              <a:buNone/>
              <a:defRPr sz="1470"/>
            </a:lvl9pPr>
          </a:lstStyle>
          <a:p>
            <a:endParaRPr lang="zh-CN" altLang="en-US"/>
          </a:p>
        </p:txBody>
      </p:sp>
      <p:sp>
        <p:nvSpPr>
          <p:cNvPr id="4" name="文本占位符 3"/>
          <p:cNvSpPr>
            <a:spLocks noGrp="1"/>
          </p:cNvSpPr>
          <p:nvPr>
            <p:ph type="body" sz="half" idx="2"/>
          </p:nvPr>
        </p:nvSpPr>
        <p:spPr>
          <a:xfrm>
            <a:off x="619891" y="1512094"/>
            <a:ext cx="2902585" cy="2801341"/>
          </a:xfrm>
        </p:spPr>
        <p:txBody>
          <a:bodyPr/>
          <a:lstStyle>
            <a:lvl1pPr marL="0" indent="0">
              <a:buNone/>
              <a:defRPr sz="1175"/>
            </a:lvl1pPr>
            <a:lvl2pPr marL="335915" indent="0">
              <a:buNone/>
              <a:defRPr sz="1030"/>
            </a:lvl2pPr>
            <a:lvl3pPr marL="671830" indent="0">
              <a:buNone/>
              <a:defRPr sz="880"/>
            </a:lvl3pPr>
            <a:lvl4pPr marL="1008380" indent="0">
              <a:buNone/>
              <a:defRPr sz="735"/>
            </a:lvl4pPr>
            <a:lvl5pPr marL="1344295" indent="0">
              <a:buNone/>
              <a:defRPr sz="735"/>
            </a:lvl5pPr>
            <a:lvl6pPr marL="1680210" indent="0">
              <a:buNone/>
              <a:defRPr sz="735"/>
            </a:lvl6pPr>
            <a:lvl7pPr marL="2016125" indent="0">
              <a:buNone/>
              <a:defRPr sz="735"/>
            </a:lvl7pPr>
            <a:lvl8pPr marL="2352040" indent="0">
              <a:buNone/>
              <a:defRPr sz="735"/>
            </a:lvl8pPr>
            <a:lvl9pPr marL="2688590" indent="0">
              <a:buNone/>
              <a:defRPr sz="735"/>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74111DA-7CF0-4B78-9416-B120566F4DB8}"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0">
                <a:solidFill>
                  <a:schemeClr val="tx1">
                    <a:tint val="75000"/>
                  </a:schemeClr>
                </a:solidFill>
              </a:defRPr>
            </a:lvl1pPr>
          </a:lstStyle>
          <a:p>
            <a:fld id="{C74111DA-7CF0-4B78-9416-B120566F4DB8}" type="datetimeFigureOut">
              <a:rPr lang="zh-CN" altLang="en-US" smtClean="0"/>
              <a:t>2021/1/5</a:t>
            </a:fld>
            <a:endParaRPr lang="zh-CN" altLang="en-US"/>
          </a:p>
        </p:txBody>
      </p:sp>
      <p:sp>
        <p:nvSpPr>
          <p:cNvPr id="5" name="页脚占位符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0">
                <a:solidFill>
                  <a:schemeClr val="tx1">
                    <a:tint val="75000"/>
                  </a:schemeClr>
                </a:solidFill>
              </a:defRPr>
            </a:lvl1pPr>
          </a:lstStyle>
          <a:p>
            <a:fld id="{AD843EE1-183B-410B-92CF-EC46962ED01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671830"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275" indent="-168275" algn="l" defTabSz="671830" rtl="0" eaLnBrk="1" latinLnBrk="0" hangingPunct="1">
        <a:lnSpc>
          <a:spcPct val="90000"/>
        </a:lnSpc>
        <a:spcBef>
          <a:spcPts val="735"/>
        </a:spcBef>
        <a:buFont typeface="Arial" panose="020B0604020202020204" pitchFamily="34" charset="0"/>
        <a:buChar char="•"/>
        <a:defRPr sz="2060" kern="1200">
          <a:solidFill>
            <a:schemeClr val="tx1"/>
          </a:solidFill>
          <a:latin typeface="+mn-lt"/>
          <a:ea typeface="+mn-ea"/>
          <a:cs typeface="+mn-cs"/>
        </a:defRPr>
      </a:lvl1pPr>
      <a:lvl2pPr marL="504190" indent="-168275" algn="l" defTabSz="671830" rtl="0" eaLnBrk="1" latinLnBrk="0" hangingPunct="1">
        <a:lnSpc>
          <a:spcPct val="90000"/>
        </a:lnSpc>
        <a:spcBef>
          <a:spcPts val="370"/>
        </a:spcBef>
        <a:buFont typeface="Arial" panose="020B0604020202020204" pitchFamily="34" charset="0"/>
        <a:buChar char="•"/>
        <a:defRPr sz="1765" kern="1200">
          <a:solidFill>
            <a:schemeClr val="tx1"/>
          </a:solidFill>
          <a:latin typeface="+mn-lt"/>
          <a:ea typeface="+mn-ea"/>
          <a:cs typeface="+mn-cs"/>
        </a:defRPr>
      </a:lvl2pPr>
      <a:lvl3pPr marL="840105" indent="-168275" algn="l" defTabSz="671830" rtl="0" eaLnBrk="1" latinLnBrk="0" hangingPunct="1">
        <a:lnSpc>
          <a:spcPct val="90000"/>
        </a:lnSpc>
        <a:spcBef>
          <a:spcPts val="370"/>
        </a:spcBef>
        <a:buFont typeface="Arial" panose="020B0604020202020204" pitchFamily="34" charset="0"/>
        <a:buChar char="•"/>
        <a:defRPr sz="1470" kern="1200">
          <a:solidFill>
            <a:schemeClr val="tx1"/>
          </a:solidFill>
          <a:latin typeface="+mn-lt"/>
          <a:ea typeface="+mn-ea"/>
          <a:cs typeface="+mn-cs"/>
        </a:defRPr>
      </a:lvl3pPr>
      <a:lvl4pPr marL="117602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4pPr>
      <a:lvl5pPr marL="151193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5pPr>
      <a:lvl6pPr marL="184848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6pPr>
      <a:lvl7pPr marL="218440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7pPr>
      <a:lvl8pPr marL="252031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8pPr>
      <a:lvl9pPr marL="285623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9pPr>
    </p:bodyStyle>
    <p:otherStyle>
      <a:defPPr>
        <a:defRPr lang="zh-CN"/>
      </a:defPPr>
      <a:lvl1pPr marL="0" algn="l" defTabSz="671830" rtl="0" eaLnBrk="1" latinLnBrk="0" hangingPunct="1">
        <a:defRPr sz="1325" kern="1200">
          <a:solidFill>
            <a:schemeClr val="tx1"/>
          </a:solidFill>
          <a:latin typeface="+mn-lt"/>
          <a:ea typeface="+mn-ea"/>
          <a:cs typeface="+mn-cs"/>
        </a:defRPr>
      </a:lvl1pPr>
      <a:lvl2pPr marL="335915" algn="l" defTabSz="671830" rtl="0" eaLnBrk="1" latinLnBrk="0" hangingPunct="1">
        <a:defRPr sz="1325" kern="1200">
          <a:solidFill>
            <a:schemeClr val="tx1"/>
          </a:solidFill>
          <a:latin typeface="+mn-lt"/>
          <a:ea typeface="+mn-ea"/>
          <a:cs typeface="+mn-cs"/>
        </a:defRPr>
      </a:lvl2pPr>
      <a:lvl3pPr marL="671830" algn="l" defTabSz="671830" rtl="0" eaLnBrk="1" latinLnBrk="0" hangingPunct="1">
        <a:defRPr sz="1325" kern="1200">
          <a:solidFill>
            <a:schemeClr val="tx1"/>
          </a:solidFill>
          <a:latin typeface="+mn-lt"/>
          <a:ea typeface="+mn-ea"/>
          <a:cs typeface="+mn-cs"/>
        </a:defRPr>
      </a:lvl3pPr>
      <a:lvl4pPr marL="1008380" algn="l" defTabSz="671830" rtl="0" eaLnBrk="1" latinLnBrk="0" hangingPunct="1">
        <a:defRPr sz="1325" kern="1200">
          <a:solidFill>
            <a:schemeClr val="tx1"/>
          </a:solidFill>
          <a:latin typeface="+mn-lt"/>
          <a:ea typeface="+mn-ea"/>
          <a:cs typeface="+mn-cs"/>
        </a:defRPr>
      </a:lvl4pPr>
      <a:lvl5pPr marL="1344295" algn="l" defTabSz="671830" rtl="0" eaLnBrk="1" latinLnBrk="0" hangingPunct="1">
        <a:defRPr sz="1325" kern="1200">
          <a:solidFill>
            <a:schemeClr val="tx1"/>
          </a:solidFill>
          <a:latin typeface="+mn-lt"/>
          <a:ea typeface="+mn-ea"/>
          <a:cs typeface="+mn-cs"/>
        </a:defRPr>
      </a:lvl5pPr>
      <a:lvl6pPr marL="1680210" algn="l" defTabSz="671830" rtl="0" eaLnBrk="1" latinLnBrk="0" hangingPunct="1">
        <a:defRPr sz="1325" kern="1200">
          <a:solidFill>
            <a:schemeClr val="tx1"/>
          </a:solidFill>
          <a:latin typeface="+mn-lt"/>
          <a:ea typeface="+mn-ea"/>
          <a:cs typeface="+mn-cs"/>
        </a:defRPr>
      </a:lvl6pPr>
      <a:lvl7pPr marL="2016125" algn="l" defTabSz="671830" rtl="0" eaLnBrk="1" latinLnBrk="0" hangingPunct="1">
        <a:defRPr sz="1325" kern="1200">
          <a:solidFill>
            <a:schemeClr val="tx1"/>
          </a:solidFill>
          <a:latin typeface="+mn-lt"/>
          <a:ea typeface="+mn-ea"/>
          <a:cs typeface="+mn-cs"/>
        </a:defRPr>
      </a:lvl7pPr>
      <a:lvl8pPr marL="2352040" algn="l" defTabSz="671830" rtl="0" eaLnBrk="1" latinLnBrk="0" hangingPunct="1">
        <a:defRPr sz="1325" kern="1200">
          <a:solidFill>
            <a:schemeClr val="tx1"/>
          </a:solidFill>
          <a:latin typeface="+mn-lt"/>
          <a:ea typeface="+mn-ea"/>
          <a:cs typeface="+mn-cs"/>
        </a:defRPr>
      </a:lvl8pPr>
      <a:lvl9pPr marL="2688590" algn="l" defTabSz="671830" rtl="0" eaLnBrk="1" latinLnBrk="0" hangingPunct="1">
        <a:defRPr sz="132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0">
                <a:solidFill>
                  <a:schemeClr val="tx1">
                    <a:tint val="75000"/>
                  </a:schemeClr>
                </a:solidFill>
              </a:defRPr>
            </a:lvl1pPr>
          </a:lstStyle>
          <a:p>
            <a:fld id="{C74111DA-7CF0-4B78-9416-B120566F4DB8}" type="datetimeFigureOut">
              <a:rPr lang="zh-CN" altLang="en-US" smtClean="0"/>
              <a:t>2021/1/5</a:t>
            </a:fld>
            <a:endParaRPr lang="zh-CN" altLang="en-US"/>
          </a:p>
        </p:txBody>
      </p:sp>
      <p:sp>
        <p:nvSpPr>
          <p:cNvPr id="5" name="Footer Placeholder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0">
                <a:solidFill>
                  <a:schemeClr val="tx1">
                    <a:tint val="75000"/>
                  </a:schemeClr>
                </a:solidFill>
              </a:defRPr>
            </a:lvl1pPr>
          </a:lstStyle>
          <a:p>
            <a:fld id="{AD843EE1-183B-410B-92CF-EC46962ED01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71830" rtl="0" eaLnBrk="1" latinLnBrk="0" hangingPunct="1">
        <a:lnSpc>
          <a:spcPct val="90000"/>
        </a:lnSpc>
        <a:spcBef>
          <a:spcPct val="0"/>
        </a:spcBef>
        <a:buNone/>
        <a:defRPr sz="3235" kern="1200">
          <a:solidFill>
            <a:schemeClr val="tx1"/>
          </a:solidFill>
          <a:latin typeface="+mj-lt"/>
          <a:ea typeface="+mj-ea"/>
          <a:cs typeface="+mj-cs"/>
        </a:defRPr>
      </a:lvl1pPr>
    </p:titleStyle>
    <p:bodyStyle>
      <a:lvl1pPr marL="168275" indent="-168275" algn="l" defTabSz="671830" rtl="0" eaLnBrk="1" latinLnBrk="0" hangingPunct="1">
        <a:lnSpc>
          <a:spcPct val="90000"/>
        </a:lnSpc>
        <a:spcBef>
          <a:spcPts val="735"/>
        </a:spcBef>
        <a:buFont typeface="Arial" panose="020B0604020202020204" pitchFamily="34" charset="0"/>
        <a:buChar char="•"/>
        <a:defRPr sz="2060" kern="1200">
          <a:solidFill>
            <a:schemeClr val="tx1"/>
          </a:solidFill>
          <a:latin typeface="+mn-lt"/>
          <a:ea typeface="+mn-ea"/>
          <a:cs typeface="+mn-cs"/>
        </a:defRPr>
      </a:lvl1pPr>
      <a:lvl2pPr marL="504190" indent="-168275" algn="l" defTabSz="671830" rtl="0" eaLnBrk="1" latinLnBrk="0" hangingPunct="1">
        <a:lnSpc>
          <a:spcPct val="90000"/>
        </a:lnSpc>
        <a:spcBef>
          <a:spcPts val="370"/>
        </a:spcBef>
        <a:buFont typeface="Arial" panose="020B0604020202020204" pitchFamily="34" charset="0"/>
        <a:buChar char="•"/>
        <a:defRPr sz="1765" kern="1200">
          <a:solidFill>
            <a:schemeClr val="tx1"/>
          </a:solidFill>
          <a:latin typeface="+mn-lt"/>
          <a:ea typeface="+mn-ea"/>
          <a:cs typeface="+mn-cs"/>
        </a:defRPr>
      </a:lvl2pPr>
      <a:lvl3pPr marL="840105" indent="-168275" algn="l" defTabSz="671830" rtl="0" eaLnBrk="1" latinLnBrk="0" hangingPunct="1">
        <a:lnSpc>
          <a:spcPct val="90000"/>
        </a:lnSpc>
        <a:spcBef>
          <a:spcPts val="370"/>
        </a:spcBef>
        <a:buFont typeface="Arial" panose="020B0604020202020204" pitchFamily="34" charset="0"/>
        <a:buChar char="•"/>
        <a:defRPr sz="1470" kern="1200">
          <a:solidFill>
            <a:schemeClr val="tx1"/>
          </a:solidFill>
          <a:latin typeface="+mn-lt"/>
          <a:ea typeface="+mn-ea"/>
          <a:cs typeface="+mn-cs"/>
        </a:defRPr>
      </a:lvl3pPr>
      <a:lvl4pPr marL="117602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4pPr>
      <a:lvl5pPr marL="151193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5pPr>
      <a:lvl6pPr marL="184848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6pPr>
      <a:lvl7pPr marL="218440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7pPr>
      <a:lvl8pPr marL="2520315"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8pPr>
      <a:lvl9pPr marL="2856230" indent="-168275" algn="l" defTabSz="671830" rtl="0" eaLnBrk="1" latinLnBrk="0" hangingPunct="1">
        <a:lnSpc>
          <a:spcPct val="90000"/>
        </a:lnSpc>
        <a:spcBef>
          <a:spcPts val="370"/>
        </a:spcBef>
        <a:buFont typeface="Arial" panose="020B0604020202020204" pitchFamily="34" charset="0"/>
        <a:buChar char="•"/>
        <a:defRPr sz="1325" kern="1200">
          <a:solidFill>
            <a:schemeClr val="tx1"/>
          </a:solidFill>
          <a:latin typeface="+mn-lt"/>
          <a:ea typeface="+mn-ea"/>
          <a:cs typeface="+mn-cs"/>
        </a:defRPr>
      </a:lvl9pPr>
    </p:bodyStyle>
    <p:otherStyle>
      <a:defPPr>
        <a:defRPr lang="en-US"/>
      </a:defPPr>
      <a:lvl1pPr marL="0" algn="l" defTabSz="671830" rtl="0" eaLnBrk="1" latinLnBrk="0" hangingPunct="1">
        <a:defRPr sz="1325" kern="1200">
          <a:solidFill>
            <a:schemeClr val="tx1"/>
          </a:solidFill>
          <a:latin typeface="+mn-lt"/>
          <a:ea typeface="+mn-ea"/>
          <a:cs typeface="+mn-cs"/>
        </a:defRPr>
      </a:lvl1pPr>
      <a:lvl2pPr marL="335915" algn="l" defTabSz="671830" rtl="0" eaLnBrk="1" latinLnBrk="0" hangingPunct="1">
        <a:defRPr sz="1325" kern="1200">
          <a:solidFill>
            <a:schemeClr val="tx1"/>
          </a:solidFill>
          <a:latin typeface="+mn-lt"/>
          <a:ea typeface="+mn-ea"/>
          <a:cs typeface="+mn-cs"/>
        </a:defRPr>
      </a:lvl2pPr>
      <a:lvl3pPr marL="671830" algn="l" defTabSz="671830" rtl="0" eaLnBrk="1" latinLnBrk="0" hangingPunct="1">
        <a:defRPr sz="1325" kern="1200">
          <a:solidFill>
            <a:schemeClr val="tx1"/>
          </a:solidFill>
          <a:latin typeface="+mn-lt"/>
          <a:ea typeface="+mn-ea"/>
          <a:cs typeface="+mn-cs"/>
        </a:defRPr>
      </a:lvl3pPr>
      <a:lvl4pPr marL="1008380" algn="l" defTabSz="671830" rtl="0" eaLnBrk="1" latinLnBrk="0" hangingPunct="1">
        <a:defRPr sz="1325" kern="1200">
          <a:solidFill>
            <a:schemeClr val="tx1"/>
          </a:solidFill>
          <a:latin typeface="+mn-lt"/>
          <a:ea typeface="+mn-ea"/>
          <a:cs typeface="+mn-cs"/>
        </a:defRPr>
      </a:lvl4pPr>
      <a:lvl5pPr marL="1344295" algn="l" defTabSz="671830" rtl="0" eaLnBrk="1" latinLnBrk="0" hangingPunct="1">
        <a:defRPr sz="1325" kern="1200">
          <a:solidFill>
            <a:schemeClr val="tx1"/>
          </a:solidFill>
          <a:latin typeface="+mn-lt"/>
          <a:ea typeface="+mn-ea"/>
          <a:cs typeface="+mn-cs"/>
        </a:defRPr>
      </a:lvl5pPr>
      <a:lvl6pPr marL="1680210" algn="l" defTabSz="671830" rtl="0" eaLnBrk="1" latinLnBrk="0" hangingPunct="1">
        <a:defRPr sz="1325" kern="1200">
          <a:solidFill>
            <a:schemeClr val="tx1"/>
          </a:solidFill>
          <a:latin typeface="+mn-lt"/>
          <a:ea typeface="+mn-ea"/>
          <a:cs typeface="+mn-cs"/>
        </a:defRPr>
      </a:lvl6pPr>
      <a:lvl7pPr marL="2016125" algn="l" defTabSz="671830" rtl="0" eaLnBrk="1" latinLnBrk="0" hangingPunct="1">
        <a:defRPr sz="1325" kern="1200">
          <a:solidFill>
            <a:schemeClr val="tx1"/>
          </a:solidFill>
          <a:latin typeface="+mn-lt"/>
          <a:ea typeface="+mn-ea"/>
          <a:cs typeface="+mn-cs"/>
        </a:defRPr>
      </a:lvl7pPr>
      <a:lvl8pPr marL="2352040" algn="l" defTabSz="671830" rtl="0" eaLnBrk="1" latinLnBrk="0" hangingPunct="1">
        <a:defRPr sz="1325" kern="1200">
          <a:solidFill>
            <a:schemeClr val="tx1"/>
          </a:solidFill>
          <a:latin typeface="+mn-lt"/>
          <a:ea typeface="+mn-ea"/>
          <a:cs typeface="+mn-cs"/>
        </a:defRPr>
      </a:lvl8pPr>
      <a:lvl9pPr marL="2688590" algn="l" defTabSz="671830" rtl="0" eaLnBrk="1" latinLnBrk="0" hangingPunct="1">
        <a:defRPr sz="13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4.xml"/><Relationship Id="rId7" Type="http://schemas.openxmlformats.org/officeDocument/2006/relationships/notesSlide" Target="../notesSlides/notesSlide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8.xml"/><Relationship Id="rId5" Type="http://schemas.openxmlformats.org/officeDocument/2006/relationships/tags" Target="../tags/tag6.xml"/><Relationship Id="rId4" Type="http://schemas.openxmlformats.org/officeDocument/2006/relationships/tags" Target="../tags/tag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tags" Target="../tags/tag10.xml"/><Relationship Id="rId4" Type="http://schemas.openxmlformats.org/officeDocument/2006/relationships/image" Target="../media/image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7.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11.xml"/><Relationship Id="rId4" Type="http://schemas.openxmlformats.org/officeDocument/2006/relationships/image" Target="../media/image1.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8.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7.xml"/><Relationship Id="rId4" Type="http://schemas.openxmlformats.org/officeDocument/2006/relationships/image" Target="../media/image1.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microsoft.com/office/2007/relationships/hdphoto" Target="../media/hdphoto1.wdp"/><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xml"/><Relationship Id="rId1" Type="http://schemas.openxmlformats.org/officeDocument/2006/relationships/tags" Target="../tags/tag13.xml"/><Relationship Id="rId4" Type="http://schemas.openxmlformats.org/officeDocument/2006/relationships/image" Target="../media/image1.jpeg"/></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5.xml"/><Relationship Id="rId1" Type="http://schemas.openxmlformats.org/officeDocument/2006/relationships/slideLayout" Target="../slideLayouts/slideLayout18.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2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23.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8.xml"/><Relationship Id="rId4" Type="http://schemas.openxmlformats.org/officeDocument/2006/relationships/image" Target="../media/image1.jpeg"/></Relationships>
</file>

<file path=ppt/slides/_rels/slide3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30.xml"/><Relationship Id="rId5" Type="http://schemas.openxmlformats.org/officeDocument/2006/relationships/slideLayout" Target="../slideLayouts/slideLayout18.xml"/><Relationship Id="rId4" Type="http://schemas.openxmlformats.org/officeDocument/2006/relationships/tags" Target="../tags/tag1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9.xml"/><Relationship Id="rId4" Type="http://schemas.openxmlformats.org/officeDocument/2006/relationships/image" Target="../media/image1.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17" name="矩形 16"/>
          <p:cNvSpPr/>
          <p:nvPr/>
        </p:nvSpPr>
        <p:spPr>
          <a:xfrm>
            <a:off x="3870960" y="3425058"/>
            <a:ext cx="3413760" cy="345440"/>
          </a:xfrm>
          <a:prstGeom prst="rect">
            <a:avLst/>
          </a:prstGeom>
          <a:solidFill>
            <a:srgbClr val="206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PA_文本框 11"/>
          <p:cNvSpPr txBox="1"/>
          <p:nvPr>
            <p:custDataLst>
              <p:tags r:id="rId2"/>
            </p:custDataLst>
          </p:nvPr>
        </p:nvSpPr>
        <p:spPr>
          <a:xfrm flipH="1">
            <a:off x="2786009" y="2392871"/>
            <a:ext cx="5843266" cy="1087670"/>
          </a:xfrm>
          <a:prstGeom prst="rect">
            <a:avLst/>
          </a:prstGeom>
          <a:noFill/>
        </p:spPr>
        <p:txBody>
          <a:bodyPr wrap="none" rtlCol="0">
            <a:spAutoFit/>
          </a:bodyPr>
          <a:lstStyle/>
          <a:p>
            <a:r>
              <a:rPr lang="zh-CN" altLang="en-US" sz="4410" dirty="0">
                <a:solidFill>
                  <a:srgbClr val="244494"/>
                </a:solidFill>
                <a:latin typeface="微软雅黑" panose="020B0503020204020204" pitchFamily="34" charset="-122"/>
                <a:ea typeface="微软雅黑" panose="020B0503020204020204" pitchFamily="34" charset="-122"/>
                <a:cs typeface="Kartika" panose="02020503030404060203" pitchFamily="18" charset="0"/>
              </a:rPr>
              <a:t>单击此处添加您的标题</a:t>
            </a:r>
            <a:endParaRPr lang="en-US" altLang="zh-CN" sz="4410" dirty="0">
              <a:solidFill>
                <a:srgbClr val="244494"/>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2060" dirty="0">
              <a:solidFill>
                <a:schemeClr val="bg1"/>
              </a:solidFill>
              <a:latin typeface="微软雅黑" panose="020B0503020204020204" pitchFamily="34" charset="-122"/>
              <a:ea typeface="微软雅黑" panose="020B0503020204020204" pitchFamily="34" charset="-122"/>
            </a:endParaRPr>
          </a:p>
        </p:txBody>
      </p:sp>
      <p:sp>
        <p:nvSpPr>
          <p:cNvPr id="14" name="PA_文本框 11"/>
          <p:cNvSpPr txBox="1"/>
          <p:nvPr>
            <p:custDataLst>
              <p:tags r:id="rId3"/>
            </p:custDataLst>
          </p:nvPr>
        </p:nvSpPr>
        <p:spPr>
          <a:xfrm flipH="1">
            <a:off x="3971609" y="987551"/>
            <a:ext cx="4509157" cy="2061210"/>
          </a:xfrm>
          <a:prstGeom prst="rect">
            <a:avLst/>
          </a:prstGeom>
          <a:noFill/>
        </p:spPr>
        <p:txBody>
          <a:bodyPr wrap="square" rtlCol="0">
            <a:spAutoFit/>
          </a:bodyPr>
          <a:lstStyle/>
          <a:p>
            <a:r>
              <a:rPr lang="en-US" altLang="zh-CN" sz="8000" spc="600" dirty="0">
                <a:solidFill>
                  <a:srgbClr val="244494"/>
                </a:solidFill>
                <a:latin typeface="微软雅黑" panose="020B0503020204020204" pitchFamily="34" charset="-122"/>
                <a:ea typeface="微软雅黑" panose="020B0503020204020204" pitchFamily="34" charset="-122"/>
                <a:cs typeface="Kartika" panose="02020503030404060203" pitchFamily="18" charset="0"/>
              </a:rPr>
              <a:t>202X</a:t>
            </a:r>
          </a:p>
          <a:p>
            <a:endParaRPr lang="zh-CN" altLang="en-US" sz="4800" spc="600" dirty="0">
              <a:solidFill>
                <a:schemeClr val="bg1"/>
              </a:solidFill>
              <a:latin typeface="微软雅黑" panose="020B0503020204020204" pitchFamily="34" charset="-122"/>
              <a:ea typeface="微软雅黑" panose="020B0503020204020204" pitchFamily="34" charset="-122"/>
            </a:endParaRPr>
          </a:p>
        </p:txBody>
      </p:sp>
      <p:sp>
        <p:nvSpPr>
          <p:cNvPr id="15" name="PA_文本框 11"/>
          <p:cNvSpPr txBox="1"/>
          <p:nvPr>
            <p:custDataLst>
              <p:tags r:id="rId4"/>
            </p:custDataLst>
          </p:nvPr>
        </p:nvSpPr>
        <p:spPr>
          <a:xfrm flipH="1">
            <a:off x="3933325" y="3420719"/>
            <a:ext cx="3245535" cy="475615"/>
          </a:xfrm>
          <a:prstGeom prst="rect">
            <a:avLst/>
          </a:prstGeom>
          <a:noFill/>
        </p:spPr>
        <p:txBody>
          <a:bodyPr wrap="square" rtlCol="0">
            <a:spAutoFit/>
          </a:bodyPr>
          <a:lstStyle/>
          <a:p>
            <a:r>
              <a:rPr lang="zh-CN" altLang="en-US" sz="1600">
                <a:solidFill>
                  <a:schemeClr val="bg1"/>
                </a:solidFill>
                <a:latin typeface="微软雅黑" panose="020B0503020204020204" pitchFamily="34" charset="-122"/>
                <a:ea typeface="微软雅黑" panose="020B0503020204020204" pitchFamily="34" charset="-122"/>
                <a:cs typeface="Kartika" panose="02020503030404060203" pitchFamily="18" charset="0"/>
              </a:rPr>
              <a:t>汇报人：</a:t>
            </a:r>
            <a:r>
              <a:rPr lang="en-US" altLang="zh-CN" sz="1600">
                <a:solidFill>
                  <a:schemeClr val="bg1"/>
                </a:solidFill>
                <a:latin typeface="微软雅黑" panose="020B0503020204020204" pitchFamily="34" charset="-122"/>
                <a:ea typeface="微软雅黑" panose="020B0503020204020204" pitchFamily="34" charset="-122"/>
                <a:cs typeface="Kartika" panose="02020503030404060203" pitchFamily="18" charset="0"/>
              </a:rPr>
              <a:t>xiazaii   </a:t>
            </a:r>
            <a:r>
              <a:rPr lang="zh-CN" altLang="en-US" sz="1600">
                <a:solidFill>
                  <a:schemeClr val="bg1"/>
                </a:solidFill>
                <a:latin typeface="微软雅黑" panose="020B0503020204020204" pitchFamily="34" charset="-122"/>
                <a:ea typeface="微软雅黑" panose="020B0503020204020204" pitchFamily="34" charset="-122"/>
                <a:cs typeface="Kartika" panose="02020503030404060203" pitchFamily="18" charset="0"/>
              </a:rPr>
              <a:t>部门：设计部</a:t>
            </a:r>
          </a:p>
          <a:p>
            <a:endParaRPr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6" name="PA_文本框 11"/>
          <p:cNvSpPr txBox="1"/>
          <p:nvPr>
            <p:custDataLst>
              <p:tags r:id="rId5"/>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4000" advClick="0" advTm="7851">
        <p15:prstTrans prst="curtains"/>
      </p:transition>
    </mc:Choice>
    <mc:Fallback xmlns="">
      <p:transition spd="slow" advClick="0" advTm="785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strVal val="#ppt_w+.3"/>
                                          </p:val>
                                        </p:tav>
                                        <p:tav tm="100000">
                                          <p:val>
                                            <p:strVal val="#ppt_w"/>
                                          </p:val>
                                        </p:tav>
                                      </p:tavLst>
                                    </p:anim>
                                    <p:anim calcmode="lin" valueType="num">
                                      <p:cBhvr>
                                        <p:cTn id="8" dur="1000" fill="hold"/>
                                        <p:tgtEl>
                                          <p:spTgt spid="12"/>
                                        </p:tgtEl>
                                        <p:attrNameLst>
                                          <p:attrName>ppt_h</p:attrName>
                                        </p:attrNameLst>
                                      </p:cBhvr>
                                      <p:tavLst>
                                        <p:tav tm="0">
                                          <p:val>
                                            <p:strVal val="#ppt_h"/>
                                          </p:val>
                                        </p:tav>
                                        <p:tav tm="100000">
                                          <p:val>
                                            <p:strVal val="#ppt_h"/>
                                          </p:val>
                                        </p:tav>
                                      </p:tavLst>
                                    </p:anim>
                                    <p:animEffect transition="in" filter="fade">
                                      <p:cBhvr>
                                        <p:cTn id="9" dur="1000"/>
                                        <p:tgtEl>
                                          <p:spTgt spid="12"/>
                                        </p:tgtEl>
                                      </p:cBhvr>
                                    </p:animEffect>
                                  </p:childTnLst>
                                </p:cTn>
                              </p:par>
                            </p:childTnLst>
                          </p:cTn>
                        </p:par>
                        <p:par>
                          <p:cTn id="10" fill="hold">
                            <p:stCondLst>
                              <p:cond delay="1000"/>
                            </p:stCondLst>
                            <p:childTnLst>
                              <p:par>
                                <p:cTn id="11" presetID="50" presetClass="entr" presetSubtype="0" decel="10000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p:cTn id="13" dur="1000" fill="hold"/>
                                        <p:tgtEl>
                                          <p:spTgt spid="14"/>
                                        </p:tgtEl>
                                        <p:attrNameLst>
                                          <p:attrName>ppt_w</p:attrName>
                                        </p:attrNameLst>
                                      </p:cBhvr>
                                      <p:tavLst>
                                        <p:tav tm="0">
                                          <p:val>
                                            <p:strVal val="#ppt_w+.3"/>
                                          </p:val>
                                        </p:tav>
                                        <p:tav tm="100000">
                                          <p:val>
                                            <p:strVal val="#ppt_w"/>
                                          </p:val>
                                        </p:tav>
                                      </p:tavLst>
                                    </p:anim>
                                    <p:anim calcmode="lin" valueType="num">
                                      <p:cBhvr>
                                        <p:cTn id="14" dur="1000" fill="hold"/>
                                        <p:tgtEl>
                                          <p:spTgt spid="14"/>
                                        </p:tgtEl>
                                        <p:attrNameLst>
                                          <p:attrName>ppt_h</p:attrName>
                                        </p:attrNameLst>
                                      </p:cBhvr>
                                      <p:tavLst>
                                        <p:tav tm="0">
                                          <p:val>
                                            <p:strVal val="#ppt_h"/>
                                          </p:val>
                                        </p:tav>
                                        <p:tav tm="100000">
                                          <p:val>
                                            <p:strVal val="#ppt_h"/>
                                          </p:val>
                                        </p:tav>
                                      </p:tavLst>
                                    </p:anim>
                                    <p:animEffect transition="in" filter="fade">
                                      <p:cBhvr>
                                        <p:cTn id="15" dur="1000"/>
                                        <p:tgtEl>
                                          <p:spTgt spid="14"/>
                                        </p:tgtEl>
                                      </p:cBhvr>
                                    </p:animEffect>
                                  </p:childTnLst>
                                </p:cTn>
                              </p:par>
                            </p:childTnLst>
                          </p:cTn>
                        </p:par>
                        <p:par>
                          <p:cTn id="16" fill="hold">
                            <p:stCondLst>
                              <p:cond delay="2000"/>
                            </p:stCondLst>
                            <p:childTnLst>
                              <p:par>
                                <p:cTn id="17" presetID="50" presetClass="entr" presetSubtype="0" decel="10000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1000" fill="hold"/>
                                        <p:tgtEl>
                                          <p:spTgt spid="15"/>
                                        </p:tgtEl>
                                        <p:attrNameLst>
                                          <p:attrName>ppt_w</p:attrName>
                                        </p:attrNameLst>
                                      </p:cBhvr>
                                      <p:tavLst>
                                        <p:tav tm="0">
                                          <p:val>
                                            <p:strVal val="#ppt_w+.3"/>
                                          </p:val>
                                        </p:tav>
                                        <p:tav tm="100000">
                                          <p:val>
                                            <p:strVal val="#ppt_w"/>
                                          </p:val>
                                        </p:tav>
                                      </p:tavLst>
                                    </p:anim>
                                    <p:anim calcmode="lin" valueType="num">
                                      <p:cBhvr>
                                        <p:cTn id="20" dur="1000" fill="hold"/>
                                        <p:tgtEl>
                                          <p:spTgt spid="15"/>
                                        </p:tgtEl>
                                        <p:attrNameLst>
                                          <p:attrName>ppt_h</p:attrName>
                                        </p:attrNameLst>
                                      </p:cBhvr>
                                      <p:tavLst>
                                        <p:tav tm="0">
                                          <p:val>
                                            <p:strVal val="#ppt_h"/>
                                          </p:val>
                                        </p:tav>
                                        <p:tav tm="100000">
                                          <p:val>
                                            <p:strVal val="#ppt_h"/>
                                          </p:val>
                                        </p:tav>
                                      </p:tavLst>
                                    </p:anim>
                                    <p:animEffect transition="in" filter="fade">
                                      <p:cBhvr>
                                        <p:cTn id="21" dur="10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2" grpId="0"/>
      <p:bldP spid="14" grpId="0"/>
      <p:bldP spid="15"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2</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3716">
        <p:blinds dir="vert"/>
      </p:transition>
    </mc:Choice>
    <mc:Fallback xmlns="">
      <p:transition spd="slow" advClick="0" advTm="3716">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784540" y="1341494"/>
            <a:ext cx="3515384" cy="2766339"/>
            <a:chOff x="1040153" y="1825277"/>
            <a:chExt cx="4783137" cy="3763963"/>
          </a:xfrm>
        </p:grpSpPr>
        <p:sp>
          <p:nvSpPr>
            <p:cNvPr id="18" name="Freeform 5"/>
            <p:cNvSpPr/>
            <p:nvPr/>
          </p:nvSpPr>
          <p:spPr bwMode="auto">
            <a:xfrm>
              <a:off x="4194241" y="5368577"/>
              <a:ext cx="263525" cy="220663"/>
            </a:xfrm>
            <a:custGeom>
              <a:avLst/>
              <a:gdLst>
                <a:gd name="T0" fmla="*/ 48 w 177"/>
                <a:gd name="T1" fmla="*/ 16 h 161"/>
                <a:gd name="T2" fmla="*/ 64 w 177"/>
                <a:gd name="T3" fmla="*/ 16 h 161"/>
                <a:gd name="T4" fmla="*/ 80 w 177"/>
                <a:gd name="T5" fmla="*/ 8 h 161"/>
                <a:gd name="T6" fmla="*/ 96 w 177"/>
                <a:gd name="T7" fmla="*/ 16 h 161"/>
                <a:gd name="T8" fmla="*/ 120 w 177"/>
                <a:gd name="T9" fmla="*/ 0 h 161"/>
                <a:gd name="T10" fmla="*/ 152 w 177"/>
                <a:gd name="T11" fmla="*/ 8 h 161"/>
                <a:gd name="T12" fmla="*/ 168 w 177"/>
                <a:gd name="T13" fmla="*/ 0 h 161"/>
                <a:gd name="T14" fmla="*/ 176 w 177"/>
                <a:gd name="T15" fmla="*/ 32 h 161"/>
                <a:gd name="T16" fmla="*/ 152 w 177"/>
                <a:gd name="T17" fmla="*/ 48 h 161"/>
                <a:gd name="T18" fmla="*/ 144 w 177"/>
                <a:gd name="T19" fmla="*/ 104 h 161"/>
                <a:gd name="T20" fmla="*/ 128 w 177"/>
                <a:gd name="T21" fmla="*/ 120 h 161"/>
                <a:gd name="T22" fmla="*/ 128 w 177"/>
                <a:gd name="T23" fmla="*/ 144 h 161"/>
                <a:gd name="T24" fmla="*/ 104 w 177"/>
                <a:gd name="T25" fmla="*/ 136 h 161"/>
                <a:gd name="T26" fmla="*/ 96 w 177"/>
                <a:gd name="T27" fmla="*/ 144 h 161"/>
                <a:gd name="T28" fmla="*/ 96 w 177"/>
                <a:gd name="T29" fmla="*/ 160 h 161"/>
                <a:gd name="T30" fmla="*/ 80 w 177"/>
                <a:gd name="T31" fmla="*/ 160 h 161"/>
                <a:gd name="T32" fmla="*/ 48 w 177"/>
                <a:gd name="T33" fmla="*/ 144 h 161"/>
                <a:gd name="T34" fmla="*/ 8 w 177"/>
                <a:gd name="T35" fmla="*/ 136 h 161"/>
                <a:gd name="T36" fmla="*/ 0 w 177"/>
                <a:gd name="T37" fmla="*/ 88 h 161"/>
                <a:gd name="T38" fmla="*/ 0 w 177"/>
                <a:gd name="T39" fmla="*/ 64 h 161"/>
                <a:gd name="T40" fmla="*/ 40 w 177"/>
                <a:gd name="T41" fmla="*/ 32 h 161"/>
                <a:gd name="T42" fmla="*/ 48 w 177"/>
                <a:gd name="T43" fmla="*/ 16 h 161"/>
                <a:gd name="T44" fmla="*/ 0 w 177"/>
                <a:gd name="T45" fmla="*/ 0 h 161"/>
                <a:gd name="T46" fmla="*/ 177 w 177"/>
                <a:gd name="T4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T44" t="T45" r="T46" b="T47"/>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19" name="Freeform 7"/>
            <p:cNvSpPr/>
            <p:nvPr/>
          </p:nvSpPr>
          <p:spPr bwMode="auto">
            <a:xfrm>
              <a:off x="4773953" y="1825277"/>
              <a:ext cx="1049337" cy="958850"/>
            </a:xfrm>
            <a:custGeom>
              <a:avLst/>
              <a:gdLst>
                <a:gd name="T0" fmla="*/ 16 w 705"/>
                <a:gd name="T1" fmla="*/ 64 h 697"/>
                <a:gd name="T2" fmla="*/ 32 w 705"/>
                <a:gd name="T3" fmla="*/ 104 h 697"/>
                <a:gd name="T4" fmla="*/ 72 w 705"/>
                <a:gd name="T5" fmla="*/ 104 h 697"/>
                <a:gd name="T6" fmla="*/ 104 w 705"/>
                <a:gd name="T7" fmla="*/ 176 h 697"/>
                <a:gd name="T8" fmla="*/ 160 w 705"/>
                <a:gd name="T9" fmla="*/ 160 h 697"/>
                <a:gd name="T10" fmla="*/ 232 w 705"/>
                <a:gd name="T11" fmla="*/ 168 h 697"/>
                <a:gd name="T12" fmla="*/ 216 w 705"/>
                <a:gd name="T13" fmla="*/ 312 h 697"/>
                <a:gd name="T14" fmla="*/ 192 w 705"/>
                <a:gd name="T15" fmla="*/ 392 h 697"/>
                <a:gd name="T16" fmla="*/ 104 w 705"/>
                <a:gd name="T17" fmla="*/ 464 h 697"/>
                <a:gd name="T18" fmla="*/ 152 w 705"/>
                <a:gd name="T19" fmla="*/ 488 h 697"/>
                <a:gd name="T20" fmla="*/ 136 w 705"/>
                <a:gd name="T21" fmla="*/ 520 h 697"/>
                <a:gd name="T22" fmla="*/ 176 w 705"/>
                <a:gd name="T23" fmla="*/ 544 h 697"/>
                <a:gd name="T24" fmla="*/ 192 w 705"/>
                <a:gd name="T25" fmla="*/ 576 h 697"/>
                <a:gd name="T26" fmla="*/ 288 w 705"/>
                <a:gd name="T27" fmla="*/ 584 h 697"/>
                <a:gd name="T28" fmla="*/ 320 w 705"/>
                <a:gd name="T29" fmla="*/ 592 h 697"/>
                <a:gd name="T30" fmla="*/ 384 w 705"/>
                <a:gd name="T31" fmla="*/ 640 h 697"/>
                <a:gd name="T32" fmla="*/ 424 w 705"/>
                <a:gd name="T33" fmla="*/ 664 h 697"/>
                <a:gd name="T34" fmla="*/ 432 w 705"/>
                <a:gd name="T35" fmla="*/ 624 h 697"/>
                <a:gd name="T36" fmla="*/ 480 w 705"/>
                <a:gd name="T37" fmla="*/ 696 h 697"/>
                <a:gd name="T38" fmla="*/ 496 w 705"/>
                <a:gd name="T39" fmla="*/ 680 h 697"/>
                <a:gd name="T40" fmla="*/ 552 w 705"/>
                <a:gd name="T41" fmla="*/ 680 h 697"/>
                <a:gd name="T42" fmla="*/ 592 w 705"/>
                <a:gd name="T43" fmla="*/ 632 h 697"/>
                <a:gd name="T44" fmla="*/ 600 w 705"/>
                <a:gd name="T45" fmla="*/ 528 h 697"/>
                <a:gd name="T46" fmla="*/ 664 w 705"/>
                <a:gd name="T47" fmla="*/ 536 h 697"/>
                <a:gd name="T48" fmla="*/ 680 w 705"/>
                <a:gd name="T49" fmla="*/ 344 h 697"/>
                <a:gd name="T50" fmla="*/ 696 w 705"/>
                <a:gd name="T51" fmla="*/ 296 h 697"/>
                <a:gd name="T52" fmla="*/ 704 w 705"/>
                <a:gd name="T53" fmla="*/ 256 h 697"/>
                <a:gd name="T54" fmla="*/ 608 w 705"/>
                <a:gd name="T55" fmla="*/ 320 h 697"/>
                <a:gd name="T56" fmla="*/ 560 w 705"/>
                <a:gd name="T57" fmla="*/ 360 h 697"/>
                <a:gd name="T58" fmla="*/ 488 w 705"/>
                <a:gd name="T59" fmla="*/ 304 h 697"/>
                <a:gd name="T60" fmla="*/ 440 w 705"/>
                <a:gd name="T61" fmla="*/ 280 h 697"/>
                <a:gd name="T62" fmla="*/ 376 w 705"/>
                <a:gd name="T63" fmla="*/ 256 h 697"/>
                <a:gd name="T64" fmla="*/ 360 w 705"/>
                <a:gd name="T65" fmla="*/ 240 h 697"/>
                <a:gd name="T66" fmla="*/ 336 w 705"/>
                <a:gd name="T67" fmla="*/ 248 h 697"/>
                <a:gd name="T68" fmla="*/ 264 w 705"/>
                <a:gd name="T69" fmla="*/ 128 h 697"/>
                <a:gd name="T70" fmla="*/ 248 w 705"/>
                <a:gd name="T71" fmla="*/ 88 h 697"/>
                <a:gd name="T72" fmla="*/ 144 w 705"/>
                <a:gd name="T73" fmla="*/ 24 h 697"/>
                <a:gd name="T74" fmla="*/ 16 w 705"/>
                <a:gd name="T75" fmla="*/ 16 h 697"/>
                <a:gd name="T76" fmla="*/ 0 w 705"/>
                <a:gd name="T77" fmla="*/ 0 h 697"/>
                <a:gd name="T78" fmla="*/ 705 w 705"/>
                <a:gd name="T79"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T76" t="T77" r="T78" b="T79"/>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0" name="Freeform 8"/>
            <p:cNvSpPr/>
            <p:nvPr/>
          </p:nvSpPr>
          <p:spPr bwMode="auto">
            <a:xfrm>
              <a:off x="4878728" y="2561877"/>
              <a:ext cx="788987" cy="552450"/>
            </a:xfrm>
            <a:custGeom>
              <a:avLst/>
              <a:gdLst>
                <a:gd name="T0" fmla="*/ 528 w 529"/>
                <a:gd name="T1" fmla="*/ 144 h 401"/>
                <a:gd name="T2" fmla="*/ 480 w 529"/>
                <a:gd name="T3" fmla="*/ 144 h 401"/>
                <a:gd name="T4" fmla="*/ 456 w 529"/>
                <a:gd name="T5" fmla="*/ 120 h 401"/>
                <a:gd name="T6" fmla="*/ 424 w 529"/>
                <a:gd name="T7" fmla="*/ 152 h 401"/>
                <a:gd name="T8" fmla="*/ 416 w 529"/>
                <a:gd name="T9" fmla="*/ 136 h 401"/>
                <a:gd name="T10" fmla="*/ 408 w 529"/>
                <a:gd name="T11" fmla="*/ 160 h 401"/>
                <a:gd name="T12" fmla="*/ 360 w 529"/>
                <a:gd name="T13" fmla="*/ 128 h 401"/>
                <a:gd name="T14" fmla="*/ 360 w 529"/>
                <a:gd name="T15" fmla="*/ 88 h 401"/>
                <a:gd name="T16" fmla="*/ 344 w 529"/>
                <a:gd name="T17" fmla="*/ 96 h 401"/>
                <a:gd name="T18" fmla="*/ 352 w 529"/>
                <a:gd name="T19" fmla="*/ 128 h 401"/>
                <a:gd name="T20" fmla="*/ 328 w 529"/>
                <a:gd name="T21" fmla="*/ 128 h 401"/>
                <a:gd name="T22" fmla="*/ 312 w 529"/>
                <a:gd name="T23" fmla="*/ 104 h 401"/>
                <a:gd name="T24" fmla="*/ 296 w 529"/>
                <a:gd name="T25" fmla="*/ 104 h 401"/>
                <a:gd name="T26" fmla="*/ 248 w 529"/>
                <a:gd name="T27" fmla="*/ 56 h 401"/>
                <a:gd name="T28" fmla="*/ 216 w 529"/>
                <a:gd name="T29" fmla="*/ 72 h 401"/>
                <a:gd name="T30" fmla="*/ 216 w 529"/>
                <a:gd name="T31" fmla="*/ 56 h 401"/>
                <a:gd name="T32" fmla="*/ 160 w 529"/>
                <a:gd name="T33" fmla="*/ 64 h 401"/>
                <a:gd name="T34" fmla="*/ 120 w 529"/>
                <a:gd name="T35" fmla="*/ 40 h 401"/>
                <a:gd name="T36" fmla="*/ 120 w 529"/>
                <a:gd name="T37" fmla="*/ 0 h 401"/>
                <a:gd name="T38" fmla="*/ 104 w 529"/>
                <a:gd name="T39" fmla="*/ 8 h 401"/>
                <a:gd name="T40" fmla="*/ 64 w 529"/>
                <a:gd name="T41" fmla="*/ 8 h 401"/>
                <a:gd name="T42" fmla="*/ 72 w 529"/>
                <a:gd name="T43" fmla="*/ 56 h 401"/>
                <a:gd name="T44" fmla="*/ 48 w 529"/>
                <a:gd name="T45" fmla="*/ 56 h 401"/>
                <a:gd name="T46" fmla="*/ 8 w 529"/>
                <a:gd name="T47" fmla="*/ 32 h 401"/>
                <a:gd name="T48" fmla="*/ 0 w 529"/>
                <a:gd name="T49" fmla="*/ 56 h 401"/>
                <a:gd name="T50" fmla="*/ 32 w 529"/>
                <a:gd name="T51" fmla="*/ 88 h 401"/>
                <a:gd name="T52" fmla="*/ 24 w 529"/>
                <a:gd name="T53" fmla="*/ 120 h 401"/>
                <a:gd name="T54" fmla="*/ 48 w 529"/>
                <a:gd name="T55" fmla="*/ 160 h 401"/>
                <a:gd name="T56" fmla="*/ 88 w 529"/>
                <a:gd name="T57" fmla="*/ 136 h 401"/>
                <a:gd name="T58" fmla="*/ 112 w 529"/>
                <a:gd name="T59" fmla="*/ 184 h 401"/>
                <a:gd name="T60" fmla="*/ 112 w 529"/>
                <a:gd name="T61" fmla="*/ 224 h 401"/>
                <a:gd name="T62" fmla="*/ 152 w 529"/>
                <a:gd name="T63" fmla="*/ 224 h 401"/>
                <a:gd name="T64" fmla="*/ 168 w 529"/>
                <a:gd name="T65" fmla="*/ 264 h 401"/>
                <a:gd name="T66" fmla="*/ 176 w 529"/>
                <a:gd name="T67" fmla="*/ 232 h 401"/>
                <a:gd name="T68" fmla="*/ 208 w 529"/>
                <a:gd name="T69" fmla="*/ 280 h 401"/>
                <a:gd name="T70" fmla="*/ 232 w 529"/>
                <a:gd name="T71" fmla="*/ 320 h 401"/>
                <a:gd name="T72" fmla="*/ 232 w 529"/>
                <a:gd name="T73" fmla="*/ 344 h 401"/>
                <a:gd name="T74" fmla="*/ 264 w 529"/>
                <a:gd name="T75" fmla="*/ 400 h 401"/>
                <a:gd name="T76" fmla="*/ 288 w 529"/>
                <a:gd name="T77" fmla="*/ 376 h 401"/>
                <a:gd name="T78" fmla="*/ 304 w 529"/>
                <a:gd name="T79" fmla="*/ 328 h 401"/>
                <a:gd name="T80" fmla="*/ 320 w 529"/>
                <a:gd name="T81" fmla="*/ 320 h 401"/>
                <a:gd name="T82" fmla="*/ 336 w 529"/>
                <a:gd name="T83" fmla="*/ 328 h 401"/>
                <a:gd name="T84" fmla="*/ 328 w 529"/>
                <a:gd name="T85" fmla="*/ 344 h 401"/>
                <a:gd name="T86" fmla="*/ 376 w 529"/>
                <a:gd name="T87" fmla="*/ 344 h 401"/>
                <a:gd name="T88" fmla="*/ 392 w 529"/>
                <a:gd name="T89" fmla="*/ 328 h 401"/>
                <a:gd name="T90" fmla="*/ 392 w 529"/>
                <a:gd name="T91" fmla="*/ 312 h 401"/>
                <a:gd name="T92" fmla="*/ 384 w 529"/>
                <a:gd name="T93" fmla="*/ 296 h 401"/>
                <a:gd name="T94" fmla="*/ 432 w 529"/>
                <a:gd name="T95" fmla="*/ 272 h 401"/>
                <a:gd name="T96" fmla="*/ 440 w 529"/>
                <a:gd name="T97" fmla="*/ 264 h 401"/>
                <a:gd name="T98" fmla="*/ 440 w 529"/>
                <a:gd name="T99" fmla="*/ 248 h 401"/>
                <a:gd name="T100" fmla="*/ 456 w 529"/>
                <a:gd name="T101" fmla="*/ 240 h 401"/>
                <a:gd name="T102" fmla="*/ 456 w 529"/>
                <a:gd name="T103" fmla="*/ 192 h 401"/>
                <a:gd name="T104" fmla="*/ 472 w 529"/>
                <a:gd name="T105" fmla="*/ 192 h 401"/>
                <a:gd name="T106" fmla="*/ 480 w 529"/>
                <a:gd name="T107" fmla="*/ 216 h 401"/>
                <a:gd name="T108" fmla="*/ 504 w 529"/>
                <a:gd name="T109" fmla="*/ 232 h 401"/>
                <a:gd name="T110" fmla="*/ 512 w 529"/>
                <a:gd name="T111" fmla="*/ 224 h 401"/>
                <a:gd name="T112" fmla="*/ 504 w 529"/>
                <a:gd name="T113" fmla="*/ 208 h 401"/>
                <a:gd name="T114" fmla="*/ 504 w 529"/>
                <a:gd name="T115" fmla="*/ 192 h 401"/>
                <a:gd name="T116" fmla="*/ 528 w 529"/>
                <a:gd name="T117" fmla="*/ 184 h 401"/>
                <a:gd name="T118" fmla="*/ 528 w 529"/>
                <a:gd name="T119" fmla="*/ 144 h 401"/>
                <a:gd name="T120" fmla="*/ 0 w 529"/>
                <a:gd name="T121" fmla="*/ 0 h 401"/>
                <a:gd name="T122" fmla="*/ 529 w 529"/>
                <a:gd name="T123"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T120" t="T121" r="T122" b="T123"/>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1" name="Freeform 9"/>
            <p:cNvSpPr/>
            <p:nvPr/>
          </p:nvSpPr>
          <p:spPr bwMode="auto">
            <a:xfrm>
              <a:off x="4712040" y="2869852"/>
              <a:ext cx="561975" cy="541338"/>
            </a:xfrm>
            <a:custGeom>
              <a:avLst/>
              <a:gdLst>
                <a:gd name="T0" fmla="*/ 376 w 377"/>
                <a:gd name="T1" fmla="*/ 176 h 393"/>
                <a:gd name="T2" fmla="*/ 336 w 377"/>
                <a:gd name="T3" fmla="*/ 120 h 393"/>
                <a:gd name="T4" fmla="*/ 344 w 377"/>
                <a:gd name="T5" fmla="*/ 96 h 393"/>
                <a:gd name="T6" fmla="*/ 312 w 377"/>
                <a:gd name="T7" fmla="*/ 40 h 393"/>
                <a:gd name="T8" fmla="*/ 288 w 377"/>
                <a:gd name="T9" fmla="*/ 8 h 393"/>
                <a:gd name="T10" fmla="*/ 280 w 377"/>
                <a:gd name="T11" fmla="*/ 40 h 393"/>
                <a:gd name="T12" fmla="*/ 264 w 377"/>
                <a:gd name="T13" fmla="*/ 0 h 393"/>
                <a:gd name="T14" fmla="*/ 232 w 377"/>
                <a:gd name="T15" fmla="*/ 0 h 393"/>
                <a:gd name="T16" fmla="*/ 240 w 377"/>
                <a:gd name="T17" fmla="*/ 24 h 393"/>
                <a:gd name="T18" fmla="*/ 200 w 377"/>
                <a:gd name="T19" fmla="*/ 56 h 393"/>
                <a:gd name="T20" fmla="*/ 176 w 377"/>
                <a:gd name="T21" fmla="*/ 56 h 393"/>
                <a:gd name="T22" fmla="*/ 48 w 377"/>
                <a:gd name="T23" fmla="*/ 144 h 393"/>
                <a:gd name="T24" fmla="*/ 24 w 377"/>
                <a:gd name="T25" fmla="*/ 112 h 393"/>
                <a:gd name="T26" fmla="*/ 8 w 377"/>
                <a:gd name="T27" fmla="*/ 112 h 393"/>
                <a:gd name="T28" fmla="*/ 16 w 377"/>
                <a:gd name="T29" fmla="*/ 136 h 393"/>
                <a:gd name="T30" fmla="*/ 16 w 377"/>
                <a:gd name="T31" fmla="*/ 160 h 393"/>
                <a:gd name="T32" fmla="*/ 24 w 377"/>
                <a:gd name="T33" fmla="*/ 184 h 393"/>
                <a:gd name="T34" fmla="*/ 8 w 377"/>
                <a:gd name="T35" fmla="*/ 184 h 393"/>
                <a:gd name="T36" fmla="*/ 8 w 377"/>
                <a:gd name="T37" fmla="*/ 216 h 393"/>
                <a:gd name="T38" fmla="*/ 0 w 377"/>
                <a:gd name="T39" fmla="*/ 232 h 393"/>
                <a:gd name="T40" fmla="*/ 32 w 377"/>
                <a:gd name="T41" fmla="*/ 240 h 393"/>
                <a:gd name="T42" fmla="*/ 64 w 377"/>
                <a:gd name="T43" fmla="*/ 296 h 393"/>
                <a:gd name="T44" fmla="*/ 104 w 377"/>
                <a:gd name="T45" fmla="*/ 240 h 393"/>
                <a:gd name="T46" fmla="*/ 120 w 377"/>
                <a:gd name="T47" fmla="*/ 208 h 393"/>
                <a:gd name="T48" fmla="*/ 160 w 377"/>
                <a:gd name="T49" fmla="*/ 200 h 393"/>
                <a:gd name="T50" fmla="*/ 184 w 377"/>
                <a:gd name="T51" fmla="*/ 216 h 393"/>
                <a:gd name="T52" fmla="*/ 184 w 377"/>
                <a:gd name="T53" fmla="*/ 224 h 393"/>
                <a:gd name="T54" fmla="*/ 192 w 377"/>
                <a:gd name="T55" fmla="*/ 224 h 393"/>
                <a:gd name="T56" fmla="*/ 168 w 377"/>
                <a:gd name="T57" fmla="*/ 280 h 393"/>
                <a:gd name="T58" fmla="*/ 152 w 377"/>
                <a:gd name="T59" fmla="*/ 280 h 393"/>
                <a:gd name="T60" fmla="*/ 160 w 377"/>
                <a:gd name="T61" fmla="*/ 312 h 393"/>
                <a:gd name="T62" fmla="*/ 152 w 377"/>
                <a:gd name="T63" fmla="*/ 320 h 393"/>
                <a:gd name="T64" fmla="*/ 168 w 377"/>
                <a:gd name="T65" fmla="*/ 320 h 393"/>
                <a:gd name="T66" fmla="*/ 136 w 377"/>
                <a:gd name="T67" fmla="*/ 376 h 393"/>
                <a:gd name="T68" fmla="*/ 144 w 377"/>
                <a:gd name="T69" fmla="*/ 392 h 393"/>
                <a:gd name="T70" fmla="*/ 160 w 377"/>
                <a:gd name="T71" fmla="*/ 376 h 393"/>
                <a:gd name="T72" fmla="*/ 168 w 377"/>
                <a:gd name="T73" fmla="*/ 352 h 393"/>
                <a:gd name="T74" fmla="*/ 184 w 377"/>
                <a:gd name="T75" fmla="*/ 352 h 393"/>
                <a:gd name="T76" fmla="*/ 200 w 377"/>
                <a:gd name="T77" fmla="*/ 336 h 393"/>
                <a:gd name="T78" fmla="*/ 200 w 377"/>
                <a:gd name="T79" fmla="*/ 312 h 393"/>
                <a:gd name="T80" fmla="*/ 256 w 377"/>
                <a:gd name="T81" fmla="*/ 280 h 393"/>
                <a:gd name="T82" fmla="*/ 304 w 377"/>
                <a:gd name="T83" fmla="*/ 264 h 393"/>
                <a:gd name="T84" fmla="*/ 312 w 377"/>
                <a:gd name="T85" fmla="*/ 224 h 393"/>
                <a:gd name="T86" fmla="*/ 344 w 377"/>
                <a:gd name="T87" fmla="*/ 200 h 393"/>
                <a:gd name="T88" fmla="*/ 368 w 377"/>
                <a:gd name="T89" fmla="*/ 192 h 393"/>
                <a:gd name="T90" fmla="*/ 376 w 377"/>
                <a:gd name="T91" fmla="*/ 176 h 393"/>
                <a:gd name="T92" fmla="*/ 0 w 377"/>
                <a:gd name="T93" fmla="*/ 0 h 393"/>
                <a:gd name="T94" fmla="*/ 377 w 377"/>
                <a:gd name="T95"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T92" t="T93" r="T94" b="T95"/>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2" name="Freeform 10"/>
            <p:cNvSpPr/>
            <p:nvPr/>
          </p:nvSpPr>
          <p:spPr bwMode="auto">
            <a:xfrm>
              <a:off x="4285003" y="2992090"/>
              <a:ext cx="525462" cy="738187"/>
            </a:xfrm>
            <a:custGeom>
              <a:avLst/>
              <a:gdLst>
                <a:gd name="T0" fmla="*/ 320 w 353"/>
                <a:gd name="T1" fmla="*/ 160 h 537"/>
                <a:gd name="T2" fmla="*/ 296 w 353"/>
                <a:gd name="T3" fmla="*/ 96 h 537"/>
                <a:gd name="T4" fmla="*/ 248 w 353"/>
                <a:gd name="T5" fmla="*/ 88 h 537"/>
                <a:gd name="T6" fmla="*/ 224 w 353"/>
                <a:gd name="T7" fmla="*/ 0 h 537"/>
                <a:gd name="T8" fmla="*/ 176 w 353"/>
                <a:gd name="T9" fmla="*/ 64 h 537"/>
                <a:gd name="T10" fmla="*/ 136 w 353"/>
                <a:gd name="T11" fmla="*/ 80 h 537"/>
                <a:gd name="T12" fmla="*/ 80 w 353"/>
                <a:gd name="T13" fmla="*/ 104 h 537"/>
                <a:gd name="T14" fmla="*/ 32 w 353"/>
                <a:gd name="T15" fmla="*/ 72 h 537"/>
                <a:gd name="T16" fmla="*/ 8 w 353"/>
                <a:gd name="T17" fmla="*/ 120 h 537"/>
                <a:gd name="T18" fmla="*/ 56 w 353"/>
                <a:gd name="T19" fmla="*/ 200 h 537"/>
                <a:gd name="T20" fmla="*/ 24 w 353"/>
                <a:gd name="T21" fmla="*/ 232 h 537"/>
                <a:gd name="T22" fmla="*/ 64 w 353"/>
                <a:gd name="T23" fmla="*/ 272 h 537"/>
                <a:gd name="T24" fmla="*/ 32 w 353"/>
                <a:gd name="T25" fmla="*/ 288 h 537"/>
                <a:gd name="T26" fmla="*/ 16 w 353"/>
                <a:gd name="T27" fmla="*/ 328 h 537"/>
                <a:gd name="T28" fmla="*/ 32 w 353"/>
                <a:gd name="T29" fmla="*/ 400 h 537"/>
                <a:gd name="T30" fmla="*/ 24 w 353"/>
                <a:gd name="T31" fmla="*/ 512 h 537"/>
                <a:gd name="T32" fmla="*/ 88 w 353"/>
                <a:gd name="T33" fmla="*/ 528 h 537"/>
                <a:gd name="T34" fmla="*/ 112 w 353"/>
                <a:gd name="T35" fmla="*/ 512 h 537"/>
                <a:gd name="T36" fmla="*/ 152 w 353"/>
                <a:gd name="T37" fmla="*/ 424 h 537"/>
                <a:gd name="T38" fmla="*/ 232 w 353"/>
                <a:gd name="T39" fmla="*/ 376 h 537"/>
                <a:gd name="T40" fmla="*/ 240 w 353"/>
                <a:gd name="T41" fmla="*/ 344 h 537"/>
                <a:gd name="T42" fmla="*/ 192 w 353"/>
                <a:gd name="T43" fmla="*/ 320 h 537"/>
                <a:gd name="T44" fmla="*/ 184 w 353"/>
                <a:gd name="T45" fmla="*/ 288 h 537"/>
                <a:gd name="T46" fmla="*/ 160 w 353"/>
                <a:gd name="T47" fmla="*/ 264 h 537"/>
                <a:gd name="T48" fmla="*/ 104 w 353"/>
                <a:gd name="T49" fmla="*/ 256 h 537"/>
                <a:gd name="T50" fmla="*/ 136 w 353"/>
                <a:gd name="T51" fmla="*/ 168 h 537"/>
                <a:gd name="T52" fmla="*/ 160 w 353"/>
                <a:gd name="T53" fmla="*/ 136 h 537"/>
                <a:gd name="T54" fmla="*/ 192 w 353"/>
                <a:gd name="T55" fmla="*/ 152 h 537"/>
                <a:gd name="T56" fmla="*/ 208 w 353"/>
                <a:gd name="T57" fmla="*/ 184 h 537"/>
                <a:gd name="T58" fmla="*/ 224 w 353"/>
                <a:gd name="T59" fmla="*/ 200 h 537"/>
                <a:gd name="T60" fmla="*/ 256 w 353"/>
                <a:gd name="T61" fmla="*/ 256 h 537"/>
                <a:gd name="T62" fmla="*/ 272 w 353"/>
                <a:gd name="T63" fmla="*/ 288 h 537"/>
                <a:gd name="T64" fmla="*/ 328 w 353"/>
                <a:gd name="T65" fmla="*/ 216 h 537"/>
                <a:gd name="T66" fmla="*/ 0 w 353"/>
                <a:gd name="T67" fmla="*/ 0 h 537"/>
                <a:gd name="T68" fmla="*/ 353 w 353"/>
                <a:gd name="T69"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T66" t="T67" r="T68" b="T69"/>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3" name="Freeform 11"/>
            <p:cNvSpPr/>
            <p:nvPr/>
          </p:nvSpPr>
          <p:spPr bwMode="auto">
            <a:xfrm>
              <a:off x="4437403" y="3179415"/>
              <a:ext cx="168275" cy="176212"/>
            </a:xfrm>
            <a:custGeom>
              <a:avLst/>
              <a:gdLst>
                <a:gd name="T0" fmla="*/ 112 w 113"/>
                <a:gd name="T1" fmla="*/ 64 h 129"/>
                <a:gd name="T2" fmla="*/ 96 w 113"/>
                <a:gd name="T3" fmla="*/ 40 h 129"/>
                <a:gd name="T4" fmla="*/ 112 w 113"/>
                <a:gd name="T5" fmla="*/ 16 h 129"/>
                <a:gd name="T6" fmla="*/ 80 w 113"/>
                <a:gd name="T7" fmla="*/ 16 h 129"/>
                <a:gd name="T8" fmla="*/ 72 w 113"/>
                <a:gd name="T9" fmla="*/ 0 h 129"/>
                <a:gd name="T10" fmla="*/ 56 w 113"/>
                <a:gd name="T11" fmla="*/ 0 h 129"/>
                <a:gd name="T12" fmla="*/ 48 w 113"/>
                <a:gd name="T13" fmla="*/ 32 h 129"/>
                <a:gd name="T14" fmla="*/ 32 w 113"/>
                <a:gd name="T15" fmla="*/ 32 h 129"/>
                <a:gd name="T16" fmla="*/ 0 w 113"/>
                <a:gd name="T17" fmla="*/ 88 h 129"/>
                <a:gd name="T18" fmla="*/ 0 w 113"/>
                <a:gd name="T19" fmla="*/ 120 h 129"/>
                <a:gd name="T20" fmla="*/ 32 w 113"/>
                <a:gd name="T21" fmla="*/ 120 h 129"/>
                <a:gd name="T22" fmla="*/ 48 w 113"/>
                <a:gd name="T23" fmla="*/ 128 h 129"/>
                <a:gd name="T24" fmla="*/ 80 w 113"/>
                <a:gd name="T25" fmla="*/ 112 h 129"/>
                <a:gd name="T26" fmla="*/ 80 w 113"/>
                <a:gd name="T27" fmla="*/ 96 h 129"/>
                <a:gd name="T28" fmla="*/ 72 w 113"/>
                <a:gd name="T29" fmla="*/ 80 h 129"/>
                <a:gd name="T30" fmla="*/ 96 w 113"/>
                <a:gd name="T31" fmla="*/ 80 h 129"/>
                <a:gd name="T32" fmla="*/ 112 w 113"/>
                <a:gd name="T33" fmla="*/ 64 h 129"/>
                <a:gd name="T34" fmla="*/ 0 w 113"/>
                <a:gd name="T35" fmla="*/ 0 h 129"/>
                <a:gd name="T36" fmla="*/ 113 w 113"/>
                <a:gd name="T3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T34" t="T35" r="T36" b="T37"/>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4" name="Freeform 12"/>
            <p:cNvSpPr/>
            <p:nvPr/>
          </p:nvSpPr>
          <p:spPr bwMode="auto">
            <a:xfrm>
              <a:off x="4545353" y="3266727"/>
              <a:ext cx="131762" cy="165100"/>
            </a:xfrm>
            <a:custGeom>
              <a:avLst/>
              <a:gdLst>
                <a:gd name="T0" fmla="*/ 88 w 89"/>
                <a:gd name="T1" fmla="*/ 80 h 121"/>
                <a:gd name="T2" fmla="*/ 80 w 89"/>
                <a:gd name="T3" fmla="*/ 56 h 121"/>
                <a:gd name="T4" fmla="*/ 56 w 89"/>
                <a:gd name="T5" fmla="*/ 40 h 121"/>
                <a:gd name="T6" fmla="*/ 48 w 89"/>
                <a:gd name="T7" fmla="*/ 8 h 121"/>
                <a:gd name="T8" fmla="*/ 32 w 89"/>
                <a:gd name="T9" fmla="*/ 0 h 121"/>
                <a:gd name="T10" fmla="*/ 24 w 89"/>
                <a:gd name="T11" fmla="*/ 8 h 121"/>
                <a:gd name="T12" fmla="*/ 32 w 89"/>
                <a:gd name="T13" fmla="*/ 48 h 121"/>
                <a:gd name="T14" fmla="*/ 8 w 89"/>
                <a:gd name="T15" fmla="*/ 48 h 121"/>
                <a:gd name="T16" fmla="*/ 0 w 89"/>
                <a:gd name="T17" fmla="*/ 112 h 121"/>
                <a:gd name="T18" fmla="*/ 16 w 89"/>
                <a:gd name="T19" fmla="*/ 120 h 121"/>
                <a:gd name="T20" fmla="*/ 56 w 89"/>
                <a:gd name="T21" fmla="*/ 112 h 121"/>
                <a:gd name="T22" fmla="*/ 56 w 89"/>
                <a:gd name="T23" fmla="*/ 80 h 121"/>
                <a:gd name="T24" fmla="*/ 88 w 89"/>
                <a:gd name="T25" fmla="*/ 80 h 121"/>
                <a:gd name="T26" fmla="*/ 0 w 89"/>
                <a:gd name="T27" fmla="*/ 0 h 121"/>
                <a:gd name="T28" fmla="*/ 89 w 89"/>
                <a:gd name="T2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T26" t="T27" r="T28" b="T29"/>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5" name="Freeform 13"/>
            <p:cNvSpPr/>
            <p:nvPr/>
          </p:nvSpPr>
          <p:spPr bwMode="auto">
            <a:xfrm>
              <a:off x="4545353" y="3277840"/>
              <a:ext cx="50800" cy="55562"/>
            </a:xfrm>
            <a:custGeom>
              <a:avLst/>
              <a:gdLst>
                <a:gd name="T0" fmla="*/ 32 w 33"/>
                <a:gd name="T1" fmla="*/ 40 h 41"/>
                <a:gd name="T2" fmla="*/ 8 w 33"/>
                <a:gd name="T3" fmla="*/ 40 h 41"/>
                <a:gd name="T4" fmla="*/ 8 w 33"/>
                <a:gd name="T5" fmla="*/ 24 h 41"/>
                <a:gd name="T6" fmla="*/ 0 w 33"/>
                <a:gd name="T7" fmla="*/ 0 h 41"/>
                <a:gd name="T8" fmla="*/ 24 w 33"/>
                <a:gd name="T9" fmla="*/ 8 h 41"/>
                <a:gd name="T10" fmla="*/ 32 w 33"/>
                <a:gd name="T11" fmla="*/ 40 h 41"/>
                <a:gd name="T12" fmla="*/ 0 w 33"/>
                <a:gd name="T13" fmla="*/ 0 h 41"/>
                <a:gd name="T14" fmla="*/ 33 w 33"/>
                <a:gd name="T15" fmla="*/ 41 h 41"/>
              </a:gdLst>
              <a:ahLst/>
              <a:cxnLst>
                <a:cxn ang="0">
                  <a:pos x="T0" y="T1"/>
                </a:cxn>
                <a:cxn ang="0">
                  <a:pos x="T2" y="T3"/>
                </a:cxn>
                <a:cxn ang="0">
                  <a:pos x="T4" y="T5"/>
                </a:cxn>
                <a:cxn ang="0">
                  <a:pos x="T6" y="T7"/>
                </a:cxn>
                <a:cxn ang="0">
                  <a:pos x="T8" y="T9"/>
                </a:cxn>
                <a:cxn ang="0">
                  <a:pos x="T10" y="T11"/>
                </a:cxn>
              </a:cxnLst>
              <a:rect l="T12" t="T13" r="T14" b="T15"/>
              <a:pathLst>
                <a:path w="33" h="41">
                  <a:moveTo>
                    <a:pt x="32" y="40"/>
                  </a:moveTo>
                  <a:lnTo>
                    <a:pt x="8" y="40"/>
                  </a:lnTo>
                  <a:lnTo>
                    <a:pt x="8" y="24"/>
                  </a:lnTo>
                  <a:lnTo>
                    <a:pt x="0" y="0"/>
                  </a:lnTo>
                  <a:lnTo>
                    <a:pt x="24" y="8"/>
                  </a:lnTo>
                  <a:lnTo>
                    <a:pt x="32" y="4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6" name="Freeform 14"/>
            <p:cNvSpPr/>
            <p:nvPr/>
          </p:nvSpPr>
          <p:spPr bwMode="auto">
            <a:xfrm>
              <a:off x="4426290" y="3476277"/>
              <a:ext cx="646113" cy="398463"/>
            </a:xfrm>
            <a:custGeom>
              <a:avLst/>
              <a:gdLst>
                <a:gd name="T0" fmla="*/ 152 w 433"/>
                <a:gd name="T1" fmla="*/ 8 h 289"/>
                <a:gd name="T2" fmla="*/ 136 w 433"/>
                <a:gd name="T3" fmla="*/ 24 h 289"/>
                <a:gd name="T4" fmla="*/ 96 w 433"/>
                <a:gd name="T5" fmla="*/ 32 h 289"/>
                <a:gd name="T6" fmla="*/ 56 w 433"/>
                <a:gd name="T7" fmla="*/ 72 h 289"/>
                <a:gd name="T8" fmla="*/ 16 w 433"/>
                <a:gd name="T9" fmla="*/ 128 h 289"/>
                <a:gd name="T10" fmla="*/ 16 w 433"/>
                <a:gd name="T11" fmla="*/ 160 h 289"/>
                <a:gd name="T12" fmla="*/ 32 w 433"/>
                <a:gd name="T13" fmla="*/ 184 h 289"/>
                <a:gd name="T14" fmla="*/ 48 w 433"/>
                <a:gd name="T15" fmla="*/ 176 h 289"/>
                <a:gd name="T16" fmla="*/ 64 w 433"/>
                <a:gd name="T17" fmla="*/ 176 h 289"/>
                <a:gd name="T18" fmla="*/ 8 w 433"/>
                <a:gd name="T19" fmla="*/ 224 h 289"/>
                <a:gd name="T20" fmla="*/ 0 w 433"/>
                <a:gd name="T21" fmla="*/ 248 h 289"/>
                <a:gd name="T22" fmla="*/ 16 w 433"/>
                <a:gd name="T23" fmla="*/ 256 h 289"/>
                <a:gd name="T24" fmla="*/ 48 w 433"/>
                <a:gd name="T25" fmla="*/ 288 h 289"/>
                <a:gd name="T26" fmla="*/ 80 w 433"/>
                <a:gd name="T27" fmla="*/ 288 h 289"/>
                <a:gd name="T28" fmla="*/ 96 w 433"/>
                <a:gd name="T29" fmla="*/ 272 h 289"/>
                <a:gd name="T30" fmla="*/ 96 w 433"/>
                <a:gd name="T31" fmla="*/ 256 h 289"/>
                <a:gd name="T32" fmla="*/ 112 w 433"/>
                <a:gd name="T33" fmla="*/ 264 h 289"/>
                <a:gd name="T34" fmla="*/ 120 w 433"/>
                <a:gd name="T35" fmla="*/ 272 h 289"/>
                <a:gd name="T36" fmla="*/ 152 w 433"/>
                <a:gd name="T37" fmla="*/ 288 h 289"/>
                <a:gd name="T38" fmla="*/ 168 w 433"/>
                <a:gd name="T39" fmla="*/ 272 h 289"/>
                <a:gd name="T40" fmla="*/ 192 w 433"/>
                <a:gd name="T41" fmla="*/ 272 h 289"/>
                <a:gd name="T42" fmla="*/ 192 w 433"/>
                <a:gd name="T43" fmla="*/ 288 h 289"/>
                <a:gd name="T44" fmla="*/ 208 w 433"/>
                <a:gd name="T45" fmla="*/ 280 h 289"/>
                <a:gd name="T46" fmla="*/ 240 w 433"/>
                <a:gd name="T47" fmla="*/ 232 h 289"/>
                <a:gd name="T48" fmla="*/ 256 w 433"/>
                <a:gd name="T49" fmla="*/ 232 h 289"/>
                <a:gd name="T50" fmla="*/ 296 w 433"/>
                <a:gd name="T51" fmla="*/ 168 h 289"/>
                <a:gd name="T52" fmla="*/ 296 w 433"/>
                <a:gd name="T53" fmla="*/ 144 h 289"/>
                <a:gd name="T54" fmla="*/ 304 w 433"/>
                <a:gd name="T55" fmla="*/ 136 h 289"/>
                <a:gd name="T56" fmla="*/ 312 w 433"/>
                <a:gd name="T57" fmla="*/ 152 h 289"/>
                <a:gd name="T58" fmla="*/ 344 w 433"/>
                <a:gd name="T59" fmla="*/ 96 h 289"/>
                <a:gd name="T60" fmla="*/ 376 w 433"/>
                <a:gd name="T61" fmla="*/ 80 h 289"/>
                <a:gd name="T62" fmla="*/ 376 w 433"/>
                <a:gd name="T63" fmla="*/ 88 h 289"/>
                <a:gd name="T64" fmla="*/ 400 w 433"/>
                <a:gd name="T65" fmla="*/ 64 h 289"/>
                <a:gd name="T66" fmla="*/ 416 w 433"/>
                <a:gd name="T67" fmla="*/ 72 h 289"/>
                <a:gd name="T68" fmla="*/ 432 w 433"/>
                <a:gd name="T69" fmla="*/ 24 h 289"/>
                <a:gd name="T70" fmla="*/ 424 w 433"/>
                <a:gd name="T71" fmla="*/ 16 h 289"/>
                <a:gd name="T72" fmla="*/ 400 w 433"/>
                <a:gd name="T73" fmla="*/ 16 h 289"/>
                <a:gd name="T74" fmla="*/ 384 w 433"/>
                <a:gd name="T75" fmla="*/ 24 h 289"/>
                <a:gd name="T76" fmla="*/ 344 w 433"/>
                <a:gd name="T77" fmla="*/ 24 h 289"/>
                <a:gd name="T78" fmla="*/ 328 w 433"/>
                <a:gd name="T79" fmla="*/ 0 h 289"/>
                <a:gd name="T80" fmla="*/ 272 w 433"/>
                <a:gd name="T81" fmla="*/ 40 h 289"/>
                <a:gd name="T82" fmla="*/ 264 w 433"/>
                <a:gd name="T83" fmla="*/ 64 h 289"/>
                <a:gd name="T84" fmla="*/ 248 w 433"/>
                <a:gd name="T85" fmla="*/ 64 h 289"/>
                <a:gd name="T86" fmla="*/ 200 w 433"/>
                <a:gd name="T87" fmla="*/ 64 h 289"/>
                <a:gd name="T88" fmla="*/ 200 w 433"/>
                <a:gd name="T89" fmla="*/ 48 h 289"/>
                <a:gd name="T90" fmla="*/ 216 w 433"/>
                <a:gd name="T91" fmla="*/ 32 h 289"/>
                <a:gd name="T92" fmla="*/ 200 w 433"/>
                <a:gd name="T93" fmla="*/ 0 h 289"/>
                <a:gd name="T94" fmla="*/ 176 w 433"/>
                <a:gd name="T95" fmla="*/ 0 h 289"/>
                <a:gd name="T96" fmla="*/ 168 w 433"/>
                <a:gd name="T97" fmla="*/ 0 h 289"/>
                <a:gd name="T98" fmla="*/ 160 w 433"/>
                <a:gd name="T99" fmla="*/ 16 h 289"/>
                <a:gd name="T100" fmla="*/ 152 w 433"/>
                <a:gd name="T101" fmla="*/ 8 h 289"/>
                <a:gd name="T102" fmla="*/ 0 w 433"/>
                <a:gd name="T103" fmla="*/ 0 h 289"/>
                <a:gd name="T104" fmla="*/ 433 w 433"/>
                <a:gd name="T105" fmla="*/ 28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T102" t="T103" r="T104" b="T105"/>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7" name="Freeform 15"/>
            <p:cNvSpPr/>
            <p:nvPr/>
          </p:nvSpPr>
          <p:spPr bwMode="auto">
            <a:xfrm>
              <a:off x="4559640" y="3795365"/>
              <a:ext cx="534988" cy="439737"/>
            </a:xfrm>
            <a:custGeom>
              <a:avLst/>
              <a:gdLst>
                <a:gd name="T0" fmla="*/ 168 w 361"/>
                <a:gd name="T1" fmla="*/ 0 h 321"/>
                <a:gd name="T2" fmla="*/ 152 w 361"/>
                <a:gd name="T3" fmla="*/ 0 h 321"/>
                <a:gd name="T4" fmla="*/ 120 w 361"/>
                <a:gd name="T5" fmla="*/ 48 h 321"/>
                <a:gd name="T6" fmla="*/ 96 w 361"/>
                <a:gd name="T7" fmla="*/ 56 h 321"/>
                <a:gd name="T8" fmla="*/ 96 w 361"/>
                <a:gd name="T9" fmla="*/ 40 h 321"/>
                <a:gd name="T10" fmla="*/ 80 w 361"/>
                <a:gd name="T11" fmla="*/ 40 h 321"/>
                <a:gd name="T12" fmla="*/ 64 w 361"/>
                <a:gd name="T13" fmla="*/ 56 h 321"/>
                <a:gd name="T14" fmla="*/ 32 w 361"/>
                <a:gd name="T15" fmla="*/ 40 h 321"/>
                <a:gd name="T16" fmla="*/ 24 w 361"/>
                <a:gd name="T17" fmla="*/ 32 h 321"/>
                <a:gd name="T18" fmla="*/ 8 w 361"/>
                <a:gd name="T19" fmla="*/ 24 h 321"/>
                <a:gd name="T20" fmla="*/ 8 w 361"/>
                <a:gd name="T21" fmla="*/ 40 h 321"/>
                <a:gd name="T22" fmla="*/ 0 w 361"/>
                <a:gd name="T23" fmla="*/ 48 h 321"/>
                <a:gd name="T24" fmla="*/ 32 w 361"/>
                <a:gd name="T25" fmla="*/ 56 h 321"/>
                <a:gd name="T26" fmla="*/ 40 w 361"/>
                <a:gd name="T27" fmla="*/ 80 h 321"/>
                <a:gd name="T28" fmla="*/ 56 w 361"/>
                <a:gd name="T29" fmla="*/ 80 h 321"/>
                <a:gd name="T30" fmla="*/ 80 w 361"/>
                <a:gd name="T31" fmla="*/ 112 h 321"/>
                <a:gd name="T32" fmla="*/ 104 w 361"/>
                <a:gd name="T33" fmla="*/ 104 h 321"/>
                <a:gd name="T34" fmla="*/ 104 w 361"/>
                <a:gd name="T35" fmla="*/ 144 h 321"/>
                <a:gd name="T36" fmla="*/ 136 w 361"/>
                <a:gd name="T37" fmla="*/ 184 h 321"/>
                <a:gd name="T38" fmla="*/ 152 w 361"/>
                <a:gd name="T39" fmla="*/ 184 h 321"/>
                <a:gd name="T40" fmla="*/ 160 w 361"/>
                <a:gd name="T41" fmla="*/ 168 h 321"/>
                <a:gd name="T42" fmla="*/ 184 w 361"/>
                <a:gd name="T43" fmla="*/ 192 h 321"/>
                <a:gd name="T44" fmla="*/ 168 w 361"/>
                <a:gd name="T45" fmla="*/ 208 h 321"/>
                <a:gd name="T46" fmla="*/ 160 w 361"/>
                <a:gd name="T47" fmla="*/ 200 h 321"/>
                <a:gd name="T48" fmla="*/ 144 w 361"/>
                <a:gd name="T49" fmla="*/ 192 h 321"/>
                <a:gd name="T50" fmla="*/ 144 w 361"/>
                <a:gd name="T51" fmla="*/ 224 h 321"/>
                <a:gd name="T52" fmla="*/ 136 w 361"/>
                <a:gd name="T53" fmla="*/ 240 h 321"/>
                <a:gd name="T54" fmla="*/ 160 w 361"/>
                <a:gd name="T55" fmla="*/ 272 h 321"/>
                <a:gd name="T56" fmla="*/ 160 w 361"/>
                <a:gd name="T57" fmla="*/ 296 h 321"/>
                <a:gd name="T58" fmla="*/ 200 w 361"/>
                <a:gd name="T59" fmla="*/ 296 h 321"/>
                <a:gd name="T60" fmla="*/ 216 w 361"/>
                <a:gd name="T61" fmla="*/ 312 h 321"/>
                <a:gd name="T62" fmla="*/ 240 w 361"/>
                <a:gd name="T63" fmla="*/ 304 h 321"/>
                <a:gd name="T64" fmla="*/ 272 w 361"/>
                <a:gd name="T65" fmla="*/ 320 h 321"/>
                <a:gd name="T66" fmla="*/ 296 w 361"/>
                <a:gd name="T67" fmla="*/ 296 h 321"/>
                <a:gd name="T68" fmla="*/ 320 w 361"/>
                <a:gd name="T69" fmla="*/ 256 h 321"/>
                <a:gd name="T70" fmla="*/ 288 w 361"/>
                <a:gd name="T71" fmla="*/ 240 h 321"/>
                <a:gd name="T72" fmla="*/ 320 w 361"/>
                <a:gd name="T73" fmla="*/ 232 h 321"/>
                <a:gd name="T74" fmla="*/ 328 w 361"/>
                <a:gd name="T75" fmla="*/ 240 h 321"/>
                <a:gd name="T76" fmla="*/ 360 w 361"/>
                <a:gd name="T77" fmla="*/ 232 h 321"/>
                <a:gd name="T78" fmla="*/ 360 w 361"/>
                <a:gd name="T79" fmla="*/ 224 h 321"/>
                <a:gd name="T80" fmla="*/ 320 w 361"/>
                <a:gd name="T81" fmla="*/ 200 h 321"/>
                <a:gd name="T82" fmla="*/ 320 w 361"/>
                <a:gd name="T83" fmla="*/ 184 h 321"/>
                <a:gd name="T84" fmla="*/ 304 w 361"/>
                <a:gd name="T85" fmla="*/ 176 h 321"/>
                <a:gd name="T86" fmla="*/ 288 w 361"/>
                <a:gd name="T87" fmla="*/ 168 h 321"/>
                <a:gd name="T88" fmla="*/ 272 w 361"/>
                <a:gd name="T89" fmla="*/ 128 h 321"/>
                <a:gd name="T90" fmla="*/ 232 w 361"/>
                <a:gd name="T91" fmla="*/ 64 h 321"/>
                <a:gd name="T92" fmla="*/ 232 w 361"/>
                <a:gd name="T93" fmla="*/ 40 h 321"/>
                <a:gd name="T94" fmla="*/ 192 w 361"/>
                <a:gd name="T95" fmla="*/ 32 h 321"/>
                <a:gd name="T96" fmla="*/ 176 w 361"/>
                <a:gd name="T97" fmla="*/ 24 h 321"/>
                <a:gd name="T98" fmla="*/ 168 w 361"/>
                <a:gd name="T99" fmla="*/ 0 h 321"/>
                <a:gd name="T100" fmla="*/ 0 w 361"/>
                <a:gd name="T101" fmla="*/ 0 h 321"/>
                <a:gd name="T102" fmla="*/ 361 w 361"/>
                <a:gd name="T103"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T100" t="T101" r="T102" b="T103"/>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8" name="Freeform 16"/>
            <p:cNvSpPr/>
            <p:nvPr/>
          </p:nvSpPr>
          <p:spPr bwMode="auto">
            <a:xfrm>
              <a:off x="4999378" y="4147790"/>
              <a:ext cx="95250" cy="74612"/>
            </a:xfrm>
            <a:custGeom>
              <a:avLst/>
              <a:gdLst>
                <a:gd name="T0" fmla="*/ 24 w 65"/>
                <a:gd name="T1" fmla="*/ 0 h 57"/>
                <a:gd name="T2" fmla="*/ 0 w 65"/>
                <a:gd name="T3" fmla="*/ 40 h 57"/>
                <a:gd name="T4" fmla="*/ 24 w 65"/>
                <a:gd name="T5" fmla="*/ 56 h 57"/>
                <a:gd name="T6" fmla="*/ 64 w 65"/>
                <a:gd name="T7" fmla="*/ 40 h 57"/>
                <a:gd name="T8" fmla="*/ 64 w 65"/>
                <a:gd name="T9" fmla="*/ 24 h 57"/>
                <a:gd name="T10" fmla="*/ 24 w 65"/>
                <a:gd name="T11" fmla="*/ 0 h 57"/>
                <a:gd name="T12" fmla="*/ 0 w 65"/>
                <a:gd name="T13" fmla="*/ 0 h 57"/>
                <a:gd name="T14" fmla="*/ 65 w 65"/>
                <a:gd name="T15" fmla="*/ 57 h 57"/>
              </a:gdLst>
              <a:ahLst/>
              <a:cxnLst>
                <a:cxn ang="0">
                  <a:pos x="T0" y="T1"/>
                </a:cxn>
                <a:cxn ang="0">
                  <a:pos x="T2" y="T3"/>
                </a:cxn>
                <a:cxn ang="0">
                  <a:pos x="T4" y="T5"/>
                </a:cxn>
                <a:cxn ang="0">
                  <a:pos x="T6" y="T7"/>
                </a:cxn>
                <a:cxn ang="0">
                  <a:pos x="T8" y="T9"/>
                </a:cxn>
                <a:cxn ang="0">
                  <a:pos x="T10" y="T11"/>
                </a:cxn>
              </a:cxnLst>
              <a:rect l="T12" t="T13" r="T14" b="T15"/>
              <a:pathLst>
                <a:path w="65" h="57">
                  <a:moveTo>
                    <a:pt x="24" y="0"/>
                  </a:moveTo>
                  <a:lnTo>
                    <a:pt x="0" y="40"/>
                  </a:lnTo>
                  <a:lnTo>
                    <a:pt x="24" y="56"/>
                  </a:lnTo>
                  <a:lnTo>
                    <a:pt x="64" y="40"/>
                  </a:lnTo>
                  <a:lnTo>
                    <a:pt x="64" y="24"/>
                  </a:lnTo>
                  <a:lnTo>
                    <a:pt x="24" y="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9" name="Freeform 17"/>
            <p:cNvSpPr/>
            <p:nvPr/>
          </p:nvSpPr>
          <p:spPr bwMode="auto">
            <a:xfrm>
              <a:off x="4761253" y="4200177"/>
              <a:ext cx="357187" cy="409575"/>
            </a:xfrm>
            <a:custGeom>
              <a:avLst/>
              <a:gdLst>
                <a:gd name="T0" fmla="*/ 184 w 241"/>
                <a:gd name="T1" fmla="*/ 16 h 297"/>
                <a:gd name="T2" fmla="*/ 160 w 241"/>
                <a:gd name="T3" fmla="*/ 0 h 297"/>
                <a:gd name="T4" fmla="*/ 136 w 241"/>
                <a:gd name="T5" fmla="*/ 24 h 297"/>
                <a:gd name="T6" fmla="*/ 104 w 241"/>
                <a:gd name="T7" fmla="*/ 8 h 297"/>
                <a:gd name="T8" fmla="*/ 80 w 241"/>
                <a:gd name="T9" fmla="*/ 16 h 297"/>
                <a:gd name="T10" fmla="*/ 72 w 241"/>
                <a:gd name="T11" fmla="*/ 32 h 297"/>
                <a:gd name="T12" fmla="*/ 64 w 241"/>
                <a:gd name="T13" fmla="*/ 48 h 297"/>
                <a:gd name="T14" fmla="*/ 72 w 241"/>
                <a:gd name="T15" fmla="*/ 72 h 297"/>
                <a:gd name="T16" fmla="*/ 56 w 241"/>
                <a:gd name="T17" fmla="*/ 72 h 297"/>
                <a:gd name="T18" fmla="*/ 48 w 241"/>
                <a:gd name="T19" fmla="*/ 64 h 297"/>
                <a:gd name="T20" fmla="*/ 40 w 241"/>
                <a:gd name="T21" fmla="*/ 64 h 297"/>
                <a:gd name="T22" fmla="*/ 40 w 241"/>
                <a:gd name="T23" fmla="*/ 80 h 297"/>
                <a:gd name="T24" fmla="*/ 40 w 241"/>
                <a:gd name="T25" fmla="*/ 96 h 297"/>
                <a:gd name="T26" fmla="*/ 40 w 241"/>
                <a:gd name="T27" fmla="*/ 96 h 297"/>
                <a:gd name="T28" fmla="*/ 40 w 241"/>
                <a:gd name="T29" fmla="*/ 112 h 297"/>
                <a:gd name="T30" fmla="*/ 8 w 241"/>
                <a:gd name="T31" fmla="*/ 136 h 297"/>
                <a:gd name="T32" fmla="*/ 0 w 241"/>
                <a:gd name="T33" fmla="*/ 144 h 297"/>
                <a:gd name="T34" fmla="*/ 0 w 241"/>
                <a:gd name="T35" fmla="*/ 176 h 297"/>
                <a:gd name="T36" fmla="*/ 24 w 241"/>
                <a:gd name="T37" fmla="*/ 192 h 297"/>
                <a:gd name="T38" fmla="*/ 24 w 241"/>
                <a:gd name="T39" fmla="*/ 232 h 297"/>
                <a:gd name="T40" fmla="*/ 48 w 241"/>
                <a:gd name="T41" fmla="*/ 232 h 297"/>
                <a:gd name="T42" fmla="*/ 48 w 241"/>
                <a:gd name="T43" fmla="*/ 248 h 297"/>
                <a:gd name="T44" fmla="*/ 56 w 241"/>
                <a:gd name="T45" fmla="*/ 264 h 297"/>
                <a:gd name="T46" fmla="*/ 64 w 241"/>
                <a:gd name="T47" fmla="*/ 288 h 297"/>
                <a:gd name="T48" fmla="*/ 88 w 241"/>
                <a:gd name="T49" fmla="*/ 288 h 297"/>
                <a:gd name="T50" fmla="*/ 104 w 241"/>
                <a:gd name="T51" fmla="*/ 264 h 297"/>
                <a:gd name="T52" fmla="*/ 112 w 241"/>
                <a:gd name="T53" fmla="*/ 264 h 297"/>
                <a:gd name="T54" fmla="*/ 112 w 241"/>
                <a:gd name="T55" fmla="*/ 280 h 297"/>
                <a:gd name="T56" fmla="*/ 120 w 241"/>
                <a:gd name="T57" fmla="*/ 288 h 297"/>
                <a:gd name="T58" fmla="*/ 136 w 241"/>
                <a:gd name="T59" fmla="*/ 288 h 297"/>
                <a:gd name="T60" fmla="*/ 136 w 241"/>
                <a:gd name="T61" fmla="*/ 280 h 297"/>
                <a:gd name="T62" fmla="*/ 152 w 241"/>
                <a:gd name="T63" fmla="*/ 280 h 297"/>
                <a:gd name="T64" fmla="*/ 152 w 241"/>
                <a:gd name="T65" fmla="*/ 288 h 297"/>
                <a:gd name="T66" fmla="*/ 160 w 241"/>
                <a:gd name="T67" fmla="*/ 296 h 297"/>
                <a:gd name="T68" fmla="*/ 176 w 241"/>
                <a:gd name="T69" fmla="*/ 288 h 297"/>
                <a:gd name="T70" fmla="*/ 184 w 241"/>
                <a:gd name="T71" fmla="*/ 256 h 297"/>
                <a:gd name="T72" fmla="*/ 184 w 241"/>
                <a:gd name="T73" fmla="*/ 224 h 297"/>
                <a:gd name="T74" fmla="*/ 200 w 241"/>
                <a:gd name="T75" fmla="*/ 224 h 297"/>
                <a:gd name="T76" fmla="*/ 200 w 241"/>
                <a:gd name="T77" fmla="*/ 216 h 297"/>
                <a:gd name="T78" fmla="*/ 200 w 241"/>
                <a:gd name="T79" fmla="*/ 200 h 297"/>
                <a:gd name="T80" fmla="*/ 216 w 241"/>
                <a:gd name="T81" fmla="*/ 216 h 297"/>
                <a:gd name="T82" fmla="*/ 232 w 241"/>
                <a:gd name="T83" fmla="*/ 192 h 297"/>
                <a:gd name="T84" fmla="*/ 216 w 241"/>
                <a:gd name="T85" fmla="*/ 176 h 297"/>
                <a:gd name="T86" fmla="*/ 216 w 241"/>
                <a:gd name="T87" fmla="*/ 168 h 297"/>
                <a:gd name="T88" fmla="*/ 232 w 241"/>
                <a:gd name="T89" fmla="*/ 160 h 297"/>
                <a:gd name="T90" fmla="*/ 224 w 241"/>
                <a:gd name="T91" fmla="*/ 136 h 297"/>
                <a:gd name="T92" fmla="*/ 216 w 241"/>
                <a:gd name="T93" fmla="*/ 128 h 297"/>
                <a:gd name="T94" fmla="*/ 240 w 241"/>
                <a:gd name="T95" fmla="*/ 136 h 297"/>
                <a:gd name="T96" fmla="*/ 240 w 241"/>
                <a:gd name="T97" fmla="*/ 104 h 297"/>
                <a:gd name="T98" fmla="*/ 216 w 241"/>
                <a:gd name="T99" fmla="*/ 120 h 297"/>
                <a:gd name="T100" fmla="*/ 240 w 241"/>
                <a:gd name="T101" fmla="*/ 80 h 297"/>
                <a:gd name="T102" fmla="*/ 200 w 241"/>
                <a:gd name="T103" fmla="*/ 56 h 297"/>
                <a:gd name="T104" fmla="*/ 176 w 241"/>
                <a:gd name="T105" fmla="*/ 56 h 297"/>
                <a:gd name="T106" fmla="*/ 160 w 241"/>
                <a:gd name="T107" fmla="*/ 72 h 297"/>
                <a:gd name="T108" fmla="*/ 152 w 241"/>
                <a:gd name="T109" fmla="*/ 48 h 297"/>
                <a:gd name="T110" fmla="*/ 160 w 241"/>
                <a:gd name="T111" fmla="*/ 40 h 297"/>
                <a:gd name="T112" fmla="*/ 184 w 241"/>
                <a:gd name="T113" fmla="*/ 16 h 297"/>
                <a:gd name="T114" fmla="*/ 0 w 241"/>
                <a:gd name="T115" fmla="*/ 0 h 297"/>
                <a:gd name="T116" fmla="*/ 241 w 241"/>
                <a:gd name="T11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T114" t="T115" r="T116" b="T117"/>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0" name="Freeform 18"/>
            <p:cNvSpPr/>
            <p:nvPr/>
          </p:nvSpPr>
          <p:spPr bwMode="auto">
            <a:xfrm>
              <a:off x="4581865" y="4520852"/>
              <a:ext cx="406400" cy="508000"/>
            </a:xfrm>
            <a:custGeom>
              <a:avLst/>
              <a:gdLst>
                <a:gd name="T0" fmla="*/ 272 w 273"/>
                <a:gd name="T1" fmla="*/ 56 h 369"/>
                <a:gd name="T2" fmla="*/ 272 w 273"/>
                <a:gd name="T3" fmla="*/ 48 h 369"/>
                <a:gd name="T4" fmla="*/ 256 w 273"/>
                <a:gd name="T5" fmla="*/ 48 h 369"/>
                <a:gd name="T6" fmla="*/ 256 w 273"/>
                <a:gd name="T7" fmla="*/ 56 h 369"/>
                <a:gd name="T8" fmla="*/ 240 w 273"/>
                <a:gd name="T9" fmla="*/ 56 h 369"/>
                <a:gd name="T10" fmla="*/ 232 w 273"/>
                <a:gd name="T11" fmla="*/ 56 h 369"/>
                <a:gd name="T12" fmla="*/ 232 w 273"/>
                <a:gd name="T13" fmla="*/ 32 h 369"/>
                <a:gd name="T14" fmla="*/ 224 w 273"/>
                <a:gd name="T15" fmla="*/ 32 h 369"/>
                <a:gd name="T16" fmla="*/ 208 w 273"/>
                <a:gd name="T17" fmla="*/ 56 h 369"/>
                <a:gd name="T18" fmla="*/ 184 w 273"/>
                <a:gd name="T19" fmla="*/ 56 h 369"/>
                <a:gd name="T20" fmla="*/ 176 w 273"/>
                <a:gd name="T21" fmla="*/ 32 h 369"/>
                <a:gd name="T22" fmla="*/ 168 w 273"/>
                <a:gd name="T23" fmla="*/ 16 h 369"/>
                <a:gd name="T24" fmla="*/ 160 w 273"/>
                <a:gd name="T25" fmla="*/ 0 h 369"/>
                <a:gd name="T26" fmla="*/ 144 w 273"/>
                <a:gd name="T27" fmla="*/ 0 h 369"/>
                <a:gd name="T28" fmla="*/ 144 w 273"/>
                <a:gd name="T29" fmla="*/ 8 h 369"/>
                <a:gd name="T30" fmla="*/ 112 w 273"/>
                <a:gd name="T31" fmla="*/ 16 h 369"/>
                <a:gd name="T32" fmla="*/ 112 w 273"/>
                <a:gd name="T33" fmla="*/ 32 h 369"/>
                <a:gd name="T34" fmla="*/ 80 w 273"/>
                <a:gd name="T35" fmla="*/ 32 h 369"/>
                <a:gd name="T36" fmla="*/ 64 w 273"/>
                <a:gd name="T37" fmla="*/ 48 h 369"/>
                <a:gd name="T38" fmla="*/ 64 w 273"/>
                <a:gd name="T39" fmla="*/ 72 h 369"/>
                <a:gd name="T40" fmla="*/ 72 w 273"/>
                <a:gd name="T41" fmla="*/ 88 h 369"/>
                <a:gd name="T42" fmla="*/ 48 w 273"/>
                <a:gd name="T43" fmla="*/ 112 h 369"/>
                <a:gd name="T44" fmla="*/ 40 w 273"/>
                <a:gd name="T45" fmla="*/ 112 h 369"/>
                <a:gd name="T46" fmla="*/ 32 w 273"/>
                <a:gd name="T47" fmla="*/ 144 h 369"/>
                <a:gd name="T48" fmla="*/ 32 w 273"/>
                <a:gd name="T49" fmla="*/ 160 h 369"/>
                <a:gd name="T50" fmla="*/ 32 w 273"/>
                <a:gd name="T51" fmla="*/ 176 h 369"/>
                <a:gd name="T52" fmla="*/ 16 w 273"/>
                <a:gd name="T53" fmla="*/ 200 h 369"/>
                <a:gd name="T54" fmla="*/ 8 w 273"/>
                <a:gd name="T55" fmla="*/ 216 h 369"/>
                <a:gd name="T56" fmla="*/ 0 w 273"/>
                <a:gd name="T57" fmla="*/ 256 h 369"/>
                <a:gd name="T58" fmla="*/ 8 w 273"/>
                <a:gd name="T59" fmla="*/ 272 h 369"/>
                <a:gd name="T60" fmla="*/ 56 w 273"/>
                <a:gd name="T61" fmla="*/ 272 h 369"/>
                <a:gd name="T62" fmla="*/ 80 w 273"/>
                <a:gd name="T63" fmla="*/ 328 h 369"/>
                <a:gd name="T64" fmla="*/ 88 w 273"/>
                <a:gd name="T65" fmla="*/ 368 h 369"/>
                <a:gd name="T66" fmla="*/ 112 w 273"/>
                <a:gd name="T67" fmla="*/ 328 h 369"/>
                <a:gd name="T68" fmla="*/ 120 w 273"/>
                <a:gd name="T69" fmla="*/ 336 h 369"/>
                <a:gd name="T70" fmla="*/ 152 w 273"/>
                <a:gd name="T71" fmla="*/ 304 h 369"/>
                <a:gd name="T72" fmla="*/ 152 w 273"/>
                <a:gd name="T73" fmla="*/ 280 h 369"/>
                <a:gd name="T74" fmla="*/ 184 w 273"/>
                <a:gd name="T75" fmla="*/ 272 h 369"/>
                <a:gd name="T76" fmla="*/ 200 w 273"/>
                <a:gd name="T77" fmla="*/ 232 h 369"/>
                <a:gd name="T78" fmla="*/ 216 w 273"/>
                <a:gd name="T79" fmla="*/ 224 h 369"/>
                <a:gd name="T80" fmla="*/ 216 w 273"/>
                <a:gd name="T81" fmla="*/ 200 h 369"/>
                <a:gd name="T82" fmla="*/ 240 w 273"/>
                <a:gd name="T83" fmla="*/ 200 h 369"/>
                <a:gd name="T84" fmla="*/ 248 w 273"/>
                <a:gd name="T85" fmla="*/ 160 h 369"/>
                <a:gd name="T86" fmla="*/ 240 w 273"/>
                <a:gd name="T87" fmla="*/ 128 h 369"/>
                <a:gd name="T88" fmla="*/ 248 w 273"/>
                <a:gd name="T89" fmla="*/ 120 h 369"/>
                <a:gd name="T90" fmla="*/ 232 w 273"/>
                <a:gd name="T91" fmla="*/ 104 h 369"/>
                <a:gd name="T92" fmla="*/ 248 w 273"/>
                <a:gd name="T93" fmla="*/ 96 h 369"/>
                <a:gd name="T94" fmla="*/ 256 w 273"/>
                <a:gd name="T95" fmla="*/ 104 h 369"/>
                <a:gd name="T96" fmla="*/ 272 w 273"/>
                <a:gd name="T97" fmla="*/ 80 h 369"/>
                <a:gd name="T98" fmla="*/ 272 w 273"/>
                <a:gd name="T99" fmla="*/ 56 h 369"/>
                <a:gd name="T100" fmla="*/ 0 w 273"/>
                <a:gd name="T101" fmla="*/ 0 h 369"/>
                <a:gd name="T102" fmla="*/ 273 w 273"/>
                <a:gd name="T103"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T100" t="T101" r="T102" b="T103"/>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1" name="Freeform 19"/>
            <p:cNvSpPr/>
            <p:nvPr/>
          </p:nvSpPr>
          <p:spPr bwMode="auto">
            <a:xfrm>
              <a:off x="3961153" y="4839940"/>
              <a:ext cx="752475" cy="528637"/>
            </a:xfrm>
            <a:custGeom>
              <a:avLst/>
              <a:gdLst>
                <a:gd name="T0" fmla="*/ 496 w 505"/>
                <a:gd name="T1" fmla="*/ 96 h 385"/>
                <a:gd name="T2" fmla="*/ 424 w 505"/>
                <a:gd name="T3" fmla="*/ 40 h 385"/>
                <a:gd name="T4" fmla="*/ 408 w 505"/>
                <a:gd name="T5" fmla="*/ 56 h 385"/>
                <a:gd name="T6" fmla="*/ 376 w 505"/>
                <a:gd name="T7" fmla="*/ 40 h 385"/>
                <a:gd name="T8" fmla="*/ 312 w 505"/>
                <a:gd name="T9" fmla="*/ 56 h 385"/>
                <a:gd name="T10" fmla="*/ 312 w 505"/>
                <a:gd name="T11" fmla="*/ 0 h 385"/>
                <a:gd name="T12" fmla="*/ 280 w 505"/>
                <a:gd name="T13" fmla="*/ 0 h 385"/>
                <a:gd name="T14" fmla="*/ 216 w 505"/>
                <a:gd name="T15" fmla="*/ 8 h 385"/>
                <a:gd name="T16" fmla="*/ 208 w 505"/>
                <a:gd name="T17" fmla="*/ 40 h 385"/>
                <a:gd name="T18" fmla="*/ 168 w 505"/>
                <a:gd name="T19" fmla="*/ 24 h 385"/>
                <a:gd name="T20" fmla="*/ 144 w 505"/>
                <a:gd name="T21" fmla="*/ 48 h 385"/>
                <a:gd name="T22" fmla="*/ 152 w 505"/>
                <a:gd name="T23" fmla="*/ 88 h 385"/>
                <a:gd name="T24" fmla="*/ 144 w 505"/>
                <a:gd name="T25" fmla="*/ 112 h 385"/>
                <a:gd name="T26" fmla="*/ 112 w 505"/>
                <a:gd name="T27" fmla="*/ 168 h 385"/>
                <a:gd name="T28" fmla="*/ 72 w 505"/>
                <a:gd name="T29" fmla="*/ 224 h 385"/>
                <a:gd name="T30" fmla="*/ 32 w 505"/>
                <a:gd name="T31" fmla="*/ 272 h 385"/>
                <a:gd name="T32" fmla="*/ 0 w 505"/>
                <a:gd name="T33" fmla="*/ 296 h 385"/>
                <a:gd name="T34" fmla="*/ 8 w 505"/>
                <a:gd name="T35" fmla="*/ 312 h 385"/>
                <a:gd name="T36" fmla="*/ 16 w 505"/>
                <a:gd name="T37" fmla="*/ 360 h 385"/>
                <a:gd name="T38" fmla="*/ 56 w 505"/>
                <a:gd name="T39" fmla="*/ 384 h 385"/>
                <a:gd name="T40" fmla="*/ 40 w 505"/>
                <a:gd name="T41" fmla="*/ 344 h 385"/>
                <a:gd name="T42" fmla="*/ 80 w 505"/>
                <a:gd name="T43" fmla="*/ 304 h 385"/>
                <a:gd name="T44" fmla="*/ 152 w 505"/>
                <a:gd name="T45" fmla="*/ 280 h 385"/>
                <a:gd name="T46" fmla="*/ 192 w 505"/>
                <a:gd name="T47" fmla="*/ 296 h 385"/>
                <a:gd name="T48" fmla="*/ 240 w 505"/>
                <a:gd name="T49" fmla="*/ 248 h 385"/>
                <a:gd name="T50" fmla="*/ 264 w 505"/>
                <a:gd name="T51" fmla="*/ 240 h 385"/>
                <a:gd name="T52" fmla="*/ 264 w 505"/>
                <a:gd name="T53" fmla="*/ 216 h 385"/>
                <a:gd name="T54" fmla="*/ 280 w 505"/>
                <a:gd name="T55" fmla="*/ 208 h 385"/>
                <a:gd name="T56" fmla="*/ 336 w 505"/>
                <a:gd name="T57" fmla="*/ 232 h 385"/>
                <a:gd name="T58" fmla="*/ 336 w 505"/>
                <a:gd name="T59" fmla="*/ 200 h 385"/>
                <a:gd name="T60" fmla="*/ 376 w 505"/>
                <a:gd name="T61" fmla="*/ 192 h 385"/>
                <a:gd name="T62" fmla="*/ 392 w 505"/>
                <a:gd name="T63" fmla="*/ 200 h 385"/>
                <a:gd name="T64" fmla="*/ 400 w 505"/>
                <a:gd name="T65" fmla="*/ 184 h 385"/>
                <a:gd name="T66" fmla="*/ 448 w 505"/>
                <a:gd name="T67" fmla="*/ 176 h 385"/>
                <a:gd name="T68" fmla="*/ 480 w 505"/>
                <a:gd name="T69" fmla="*/ 136 h 385"/>
                <a:gd name="T70" fmla="*/ 0 w 505"/>
                <a:gd name="T71" fmla="*/ 0 h 385"/>
                <a:gd name="T72" fmla="*/ 505 w 505"/>
                <a:gd name="T73"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T70" t="T71" r="T72" b="T73"/>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solidFill>
              <a:schemeClr val="tx1">
                <a:lumMod val="75000"/>
                <a:lumOff val="25000"/>
              </a:schemeClr>
            </a:solidFill>
            <a:ln w="3175" cmpd="sng">
              <a:solidFill>
                <a:schemeClr val="bg1"/>
              </a:solidFill>
              <a:miter lim="800000"/>
            </a:ln>
          </p:spPr>
          <p:txBody>
            <a:bodyPr/>
            <a:lstStyle/>
            <a:p>
              <a:endParaRPr lang="zh-CN" altLang="en-US" sz="975"/>
            </a:p>
          </p:txBody>
        </p:sp>
        <p:sp>
          <p:nvSpPr>
            <p:cNvPr id="32" name="Freeform 20"/>
            <p:cNvSpPr/>
            <p:nvPr/>
          </p:nvSpPr>
          <p:spPr bwMode="auto">
            <a:xfrm>
              <a:off x="3459503" y="4739927"/>
              <a:ext cx="741362" cy="528638"/>
            </a:xfrm>
            <a:custGeom>
              <a:avLst/>
              <a:gdLst>
                <a:gd name="T0" fmla="*/ 344 w 497"/>
                <a:gd name="T1" fmla="*/ 344 h 385"/>
                <a:gd name="T2" fmla="*/ 416 w 497"/>
                <a:gd name="T3" fmla="*/ 296 h 385"/>
                <a:gd name="T4" fmla="*/ 448 w 497"/>
                <a:gd name="T5" fmla="*/ 240 h 385"/>
                <a:gd name="T6" fmla="*/ 480 w 497"/>
                <a:gd name="T7" fmla="*/ 184 h 385"/>
                <a:gd name="T8" fmla="*/ 496 w 497"/>
                <a:gd name="T9" fmla="*/ 160 h 385"/>
                <a:gd name="T10" fmla="*/ 480 w 497"/>
                <a:gd name="T11" fmla="*/ 128 h 385"/>
                <a:gd name="T12" fmla="*/ 456 w 497"/>
                <a:gd name="T13" fmla="*/ 96 h 385"/>
                <a:gd name="T14" fmla="*/ 440 w 497"/>
                <a:gd name="T15" fmla="*/ 112 h 385"/>
                <a:gd name="T16" fmla="*/ 424 w 497"/>
                <a:gd name="T17" fmla="*/ 104 h 385"/>
                <a:gd name="T18" fmla="*/ 440 w 497"/>
                <a:gd name="T19" fmla="*/ 56 h 385"/>
                <a:gd name="T20" fmla="*/ 440 w 497"/>
                <a:gd name="T21" fmla="*/ 16 h 385"/>
                <a:gd name="T22" fmla="*/ 408 w 497"/>
                <a:gd name="T23" fmla="*/ 8 h 385"/>
                <a:gd name="T24" fmla="*/ 376 w 497"/>
                <a:gd name="T25" fmla="*/ 24 h 385"/>
                <a:gd name="T26" fmla="*/ 360 w 497"/>
                <a:gd name="T27" fmla="*/ 24 h 385"/>
                <a:gd name="T28" fmla="*/ 320 w 497"/>
                <a:gd name="T29" fmla="*/ 32 h 385"/>
                <a:gd name="T30" fmla="*/ 288 w 497"/>
                <a:gd name="T31" fmla="*/ 64 h 385"/>
                <a:gd name="T32" fmla="*/ 264 w 497"/>
                <a:gd name="T33" fmla="*/ 72 h 385"/>
                <a:gd name="T34" fmla="*/ 224 w 497"/>
                <a:gd name="T35" fmla="*/ 96 h 385"/>
                <a:gd name="T36" fmla="*/ 184 w 497"/>
                <a:gd name="T37" fmla="*/ 88 h 385"/>
                <a:gd name="T38" fmla="*/ 160 w 497"/>
                <a:gd name="T39" fmla="*/ 72 h 385"/>
                <a:gd name="T40" fmla="*/ 144 w 497"/>
                <a:gd name="T41" fmla="*/ 88 h 385"/>
                <a:gd name="T42" fmla="*/ 96 w 497"/>
                <a:gd name="T43" fmla="*/ 128 h 385"/>
                <a:gd name="T44" fmla="*/ 32 w 497"/>
                <a:gd name="T45" fmla="*/ 112 h 385"/>
                <a:gd name="T46" fmla="*/ 0 w 497"/>
                <a:gd name="T47" fmla="*/ 128 h 385"/>
                <a:gd name="T48" fmla="*/ 32 w 497"/>
                <a:gd name="T49" fmla="*/ 144 h 385"/>
                <a:gd name="T50" fmla="*/ 88 w 497"/>
                <a:gd name="T51" fmla="*/ 168 h 385"/>
                <a:gd name="T52" fmla="*/ 104 w 497"/>
                <a:gd name="T53" fmla="*/ 208 h 385"/>
                <a:gd name="T54" fmla="*/ 56 w 497"/>
                <a:gd name="T55" fmla="*/ 224 h 385"/>
                <a:gd name="T56" fmla="*/ 88 w 497"/>
                <a:gd name="T57" fmla="*/ 248 h 385"/>
                <a:gd name="T58" fmla="*/ 136 w 497"/>
                <a:gd name="T59" fmla="*/ 280 h 385"/>
                <a:gd name="T60" fmla="*/ 136 w 497"/>
                <a:gd name="T61" fmla="*/ 304 h 385"/>
                <a:gd name="T62" fmla="*/ 208 w 497"/>
                <a:gd name="T63" fmla="*/ 360 h 385"/>
                <a:gd name="T64" fmla="*/ 248 w 497"/>
                <a:gd name="T65" fmla="*/ 360 h 385"/>
                <a:gd name="T66" fmla="*/ 256 w 497"/>
                <a:gd name="T67" fmla="*/ 344 h 385"/>
                <a:gd name="T68" fmla="*/ 296 w 497"/>
                <a:gd name="T69" fmla="*/ 376 h 385"/>
                <a:gd name="T70" fmla="*/ 336 w 497"/>
                <a:gd name="T71" fmla="*/ 368 h 385"/>
                <a:gd name="T72" fmla="*/ 0 w 497"/>
                <a:gd name="T73" fmla="*/ 0 h 385"/>
                <a:gd name="T74" fmla="*/ 497 w 497"/>
                <a:gd name="T7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T72" t="T73" r="T74" b="T75"/>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solidFill>
              <a:schemeClr val="bg1">
                <a:lumMod val="85000"/>
              </a:schemeClr>
            </a:solidFill>
            <a:ln w="3175" cap="rnd" cmpd="sng">
              <a:solidFill>
                <a:schemeClr val="bg1"/>
              </a:solidFill>
              <a:miter lim="800000"/>
            </a:ln>
          </p:spPr>
          <p:txBody>
            <a:bodyPr/>
            <a:lstStyle/>
            <a:p>
              <a:endParaRPr lang="zh-CN" altLang="en-US" sz="975"/>
            </a:p>
          </p:txBody>
        </p:sp>
        <p:sp>
          <p:nvSpPr>
            <p:cNvPr id="33" name="Freeform 21"/>
            <p:cNvSpPr/>
            <p:nvPr/>
          </p:nvSpPr>
          <p:spPr bwMode="auto">
            <a:xfrm>
              <a:off x="3388065" y="4444652"/>
              <a:ext cx="552450" cy="485775"/>
            </a:xfrm>
            <a:custGeom>
              <a:avLst/>
              <a:gdLst>
                <a:gd name="T0" fmla="*/ 48 w 369"/>
                <a:gd name="T1" fmla="*/ 320 h 353"/>
                <a:gd name="T2" fmla="*/ 32 w 369"/>
                <a:gd name="T3" fmla="*/ 264 h 353"/>
                <a:gd name="T4" fmla="*/ 56 w 369"/>
                <a:gd name="T5" fmla="*/ 192 h 353"/>
                <a:gd name="T6" fmla="*/ 8 w 369"/>
                <a:gd name="T7" fmla="*/ 160 h 353"/>
                <a:gd name="T8" fmla="*/ 16 w 369"/>
                <a:gd name="T9" fmla="*/ 136 h 353"/>
                <a:gd name="T10" fmla="*/ 48 w 369"/>
                <a:gd name="T11" fmla="*/ 136 h 353"/>
                <a:gd name="T12" fmla="*/ 104 w 369"/>
                <a:gd name="T13" fmla="*/ 120 h 353"/>
                <a:gd name="T14" fmla="*/ 168 w 369"/>
                <a:gd name="T15" fmla="*/ 112 h 353"/>
                <a:gd name="T16" fmla="*/ 136 w 369"/>
                <a:gd name="T17" fmla="*/ 80 h 353"/>
                <a:gd name="T18" fmla="*/ 144 w 369"/>
                <a:gd name="T19" fmla="*/ 40 h 353"/>
                <a:gd name="T20" fmla="*/ 184 w 369"/>
                <a:gd name="T21" fmla="*/ 40 h 353"/>
                <a:gd name="T22" fmla="*/ 208 w 369"/>
                <a:gd name="T23" fmla="*/ 48 h 353"/>
                <a:gd name="T24" fmla="*/ 232 w 369"/>
                <a:gd name="T25" fmla="*/ 40 h 353"/>
                <a:gd name="T26" fmla="*/ 248 w 369"/>
                <a:gd name="T27" fmla="*/ 0 h 353"/>
                <a:gd name="T28" fmla="*/ 288 w 369"/>
                <a:gd name="T29" fmla="*/ 16 h 353"/>
                <a:gd name="T30" fmla="*/ 320 w 369"/>
                <a:gd name="T31" fmla="*/ 72 h 353"/>
                <a:gd name="T32" fmla="*/ 344 w 369"/>
                <a:gd name="T33" fmla="*/ 88 h 353"/>
                <a:gd name="T34" fmla="*/ 360 w 369"/>
                <a:gd name="T35" fmla="*/ 64 h 353"/>
                <a:gd name="T36" fmla="*/ 360 w 369"/>
                <a:gd name="T37" fmla="*/ 96 h 353"/>
                <a:gd name="T38" fmla="*/ 360 w 369"/>
                <a:gd name="T39" fmla="*/ 128 h 353"/>
                <a:gd name="T40" fmla="*/ 336 w 369"/>
                <a:gd name="T41" fmla="*/ 168 h 353"/>
                <a:gd name="T42" fmla="*/ 368 w 369"/>
                <a:gd name="T43" fmla="*/ 184 h 353"/>
                <a:gd name="T44" fmla="*/ 360 w 369"/>
                <a:gd name="T45" fmla="*/ 208 h 353"/>
                <a:gd name="T46" fmla="*/ 368 w 369"/>
                <a:gd name="T47" fmla="*/ 232 h 353"/>
                <a:gd name="T48" fmla="*/ 344 w 369"/>
                <a:gd name="T49" fmla="*/ 256 h 353"/>
                <a:gd name="T50" fmla="*/ 344 w 369"/>
                <a:gd name="T51" fmla="*/ 280 h 353"/>
                <a:gd name="T52" fmla="*/ 312 w 369"/>
                <a:gd name="T53" fmla="*/ 288 h 353"/>
                <a:gd name="T54" fmla="*/ 272 w 369"/>
                <a:gd name="T55" fmla="*/ 312 h 353"/>
                <a:gd name="T56" fmla="*/ 232 w 369"/>
                <a:gd name="T57" fmla="*/ 304 h 353"/>
                <a:gd name="T58" fmla="*/ 208 w 369"/>
                <a:gd name="T59" fmla="*/ 288 h 353"/>
                <a:gd name="T60" fmla="*/ 192 w 369"/>
                <a:gd name="T61" fmla="*/ 304 h 353"/>
                <a:gd name="T62" fmla="*/ 144 w 369"/>
                <a:gd name="T63" fmla="*/ 352 h 353"/>
                <a:gd name="T64" fmla="*/ 80 w 369"/>
                <a:gd name="T65" fmla="*/ 328 h 353"/>
                <a:gd name="T66" fmla="*/ 0 w 369"/>
                <a:gd name="T67" fmla="*/ 0 h 353"/>
                <a:gd name="T68" fmla="*/ 369 w 369"/>
                <a:gd name="T69"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T66" t="T67" r="T68" b="T69"/>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4" name="Freeform 22"/>
            <p:cNvSpPr/>
            <p:nvPr/>
          </p:nvSpPr>
          <p:spPr bwMode="auto">
            <a:xfrm>
              <a:off x="2767353" y="4409727"/>
              <a:ext cx="849312" cy="847725"/>
            </a:xfrm>
            <a:custGeom>
              <a:avLst/>
              <a:gdLst>
                <a:gd name="T0" fmla="*/ 528 w 569"/>
                <a:gd name="T1" fmla="*/ 448 h 617"/>
                <a:gd name="T2" fmla="*/ 560 w 569"/>
                <a:gd name="T3" fmla="*/ 416 h 617"/>
                <a:gd name="T4" fmla="*/ 528 w 569"/>
                <a:gd name="T5" fmla="*/ 408 h 617"/>
                <a:gd name="T6" fmla="*/ 496 w 569"/>
                <a:gd name="T7" fmla="*/ 384 h 617"/>
                <a:gd name="T8" fmla="*/ 464 w 569"/>
                <a:gd name="T9" fmla="*/ 360 h 617"/>
                <a:gd name="T10" fmla="*/ 480 w 569"/>
                <a:gd name="T11" fmla="*/ 320 h 617"/>
                <a:gd name="T12" fmla="*/ 472 w 569"/>
                <a:gd name="T13" fmla="*/ 248 h 617"/>
                <a:gd name="T14" fmla="*/ 424 w 569"/>
                <a:gd name="T15" fmla="*/ 224 h 617"/>
                <a:gd name="T16" fmla="*/ 416 w 569"/>
                <a:gd name="T17" fmla="*/ 176 h 617"/>
                <a:gd name="T18" fmla="*/ 448 w 569"/>
                <a:gd name="T19" fmla="*/ 168 h 617"/>
                <a:gd name="T20" fmla="*/ 512 w 569"/>
                <a:gd name="T21" fmla="*/ 160 h 617"/>
                <a:gd name="T22" fmla="*/ 512 w 569"/>
                <a:gd name="T23" fmla="*/ 112 h 617"/>
                <a:gd name="T24" fmla="*/ 464 w 569"/>
                <a:gd name="T25" fmla="*/ 112 h 617"/>
                <a:gd name="T26" fmla="*/ 432 w 569"/>
                <a:gd name="T27" fmla="*/ 64 h 617"/>
                <a:gd name="T28" fmla="*/ 408 w 569"/>
                <a:gd name="T29" fmla="*/ 96 h 617"/>
                <a:gd name="T30" fmla="*/ 384 w 569"/>
                <a:gd name="T31" fmla="*/ 144 h 617"/>
                <a:gd name="T32" fmla="*/ 368 w 569"/>
                <a:gd name="T33" fmla="*/ 240 h 617"/>
                <a:gd name="T34" fmla="*/ 336 w 569"/>
                <a:gd name="T35" fmla="*/ 224 h 617"/>
                <a:gd name="T36" fmla="*/ 288 w 569"/>
                <a:gd name="T37" fmla="*/ 240 h 617"/>
                <a:gd name="T38" fmla="*/ 272 w 569"/>
                <a:gd name="T39" fmla="*/ 224 h 617"/>
                <a:gd name="T40" fmla="*/ 232 w 569"/>
                <a:gd name="T41" fmla="*/ 104 h 617"/>
                <a:gd name="T42" fmla="*/ 216 w 569"/>
                <a:gd name="T43" fmla="*/ 112 h 617"/>
                <a:gd name="T44" fmla="*/ 208 w 569"/>
                <a:gd name="T45" fmla="*/ 72 h 617"/>
                <a:gd name="T46" fmla="*/ 160 w 569"/>
                <a:gd name="T47" fmla="*/ 40 h 617"/>
                <a:gd name="T48" fmla="*/ 136 w 569"/>
                <a:gd name="T49" fmla="*/ 80 h 617"/>
                <a:gd name="T50" fmla="*/ 136 w 569"/>
                <a:gd name="T51" fmla="*/ 0 h 617"/>
                <a:gd name="T52" fmla="*/ 112 w 569"/>
                <a:gd name="T53" fmla="*/ 0 h 617"/>
                <a:gd name="T54" fmla="*/ 96 w 569"/>
                <a:gd name="T55" fmla="*/ 32 h 617"/>
                <a:gd name="T56" fmla="*/ 88 w 569"/>
                <a:gd name="T57" fmla="*/ 64 h 617"/>
                <a:gd name="T58" fmla="*/ 80 w 569"/>
                <a:gd name="T59" fmla="*/ 96 h 617"/>
                <a:gd name="T60" fmla="*/ 104 w 569"/>
                <a:gd name="T61" fmla="*/ 112 h 617"/>
                <a:gd name="T62" fmla="*/ 88 w 569"/>
                <a:gd name="T63" fmla="*/ 240 h 617"/>
                <a:gd name="T64" fmla="*/ 24 w 569"/>
                <a:gd name="T65" fmla="*/ 280 h 617"/>
                <a:gd name="T66" fmla="*/ 8 w 569"/>
                <a:gd name="T67" fmla="*/ 312 h 617"/>
                <a:gd name="T68" fmla="*/ 0 w 569"/>
                <a:gd name="T69" fmla="*/ 376 h 617"/>
                <a:gd name="T70" fmla="*/ 48 w 569"/>
                <a:gd name="T71" fmla="*/ 368 h 617"/>
                <a:gd name="T72" fmla="*/ 80 w 569"/>
                <a:gd name="T73" fmla="*/ 392 h 617"/>
                <a:gd name="T74" fmla="*/ 88 w 569"/>
                <a:gd name="T75" fmla="*/ 408 h 617"/>
                <a:gd name="T76" fmla="*/ 96 w 569"/>
                <a:gd name="T77" fmla="*/ 448 h 617"/>
                <a:gd name="T78" fmla="*/ 120 w 569"/>
                <a:gd name="T79" fmla="*/ 464 h 617"/>
                <a:gd name="T80" fmla="*/ 112 w 569"/>
                <a:gd name="T81" fmla="*/ 504 h 617"/>
                <a:gd name="T82" fmla="*/ 104 w 569"/>
                <a:gd name="T83" fmla="*/ 528 h 617"/>
                <a:gd name="T84" fmla="*/ 144 w 569"/>
                <a:gd name="T85" fmla="*/ 560 h 617"/>
                <a:gd name="T86" fmla="*/ 200 w 569"/>
                <a:gd name="T87" fmla="*/ 576 h 617"/>
                <a:gd name="T88" fmla="*/ 224 w 569"/>
                <a:gd name="T89" fmla="*/ 568 h 617"/>
                <a:gd name="T90" fmla="*/ 232 w 569"/>
                <a:gd name="T91" fmla="*/ 600 h 617"/>
                <a:gd name="T92" fmla="*/ 264 w 569"/>
                <a:gd name="T93" fmla="*/ 592 h 617"/>
                <a:gd name="T94" fmla="*/ 272 w 569"/>
                <a:gd name="T95" fmla="*/ 512 h 617"/>
                <a:gd name="T96" fmla="*/ 328 w 569"/>
                <a:gd name="T97" fmla="*/ 504 h 617"/>
                <a:gd name="T98" fmla="*/ 352 w 569"/>
                <a:gd name="T99" fmla="*/ 512 h 617"/>
                <a:gd name="T100" fmla="*/ 384 w 569"/>
                <a:gd name="T101" fmla="*/ 512 h 617"/>
                <a:gd name="T102" fmla="*/ 416 w 569"/>
                <a:gd name="T103" fmla="*/ 520 h 617"/>
                <a:gd name="T104" fmla="*/ 440 w 569"/>
                <a:gd name="T105" fmla="*/ 504 h 617"/>
                <a:gd name="T106" fmla="*/ 488 w 569"/>
                <a:gd name="T107" fmla="*/ 472 h 617"/>
                <a:gd name="T108" fmla="*/ 520 w 569"/>
                <a:gd name="T109" fmla="*/ 464 h 617"/>
                <a:gd name="T110" fmla="*/ 0 w 569"/>
                <a:gd name="T111" fmla="*/ 0 h 617"/>
                <a:gd name="T112" fmla="*/ 569 w 569"/>
                <a:gd name="T113"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5" name="Freeform 23"/>
            <p:cNvSpPr/>
            <p:nvPr/>
          </p:nvSpPr>
          <p:spPr bwMode="auto">
            <a:xfrm>
              <a:off x="1181440" y="3430240"/>
              <a:ext cx="1804988" cy="1079500"/>
            </a:xfrm>
            <a:custGeom>
              <a:avLst/>
              <a:gdLst>
                <a:gd name="T0" fmla="*/ 1184 w 1209"/>
                <a:gd name="T1" fmla="*/ 728 h 785"/>
                <a:gd name="T2" fmla="*/ 1160 w 1209"/>
                <a:gd name="T3" fmla="*/ 728 h 785"/>
                <a:gd name="T4" fmla="*/ 1160 w 1209"/>
                <a:gd name="T5" fmla="*/ 784 h 785"/>
                <a:gd name="T6" fmla="*/ 1112 w 1209"/>
                <a:gd name="T7" fmla="*/ 760 h 785"/>
                <a:gd name="T8" fmla="*/ 1088 w 1209"/>
                <a:gd name="T9" fmla="*/ 752 h 785"/>
                <a:gd name="T10" fmla="*/ 1024 w 1209"/>
                <a:gd name="T11" fmla="*/ 720 h 785"/>
                <a:gd name="T12" fmla="*/ 1040 w 1209"/>
                <a:gd name="T13" fmla="*/ 696 h 785"/>
                <a:gd name="T14" fmla="*/ 1032 w 1209"/>
                <a:gd name="T15" fmla="*/ 680 h 785"/>
                <a:gd name="T16" fmla="*/ 1000 w 1209"/>
                <a:gd name="T17" fmla="*/ 664 h 785"/>
                <a:gd name="T18" fmla="*/ 976 w 1209"/>
                <a:gd name="T19" fmla="*/ 680 h 785"/>
                <a:gd name="T20" fmla="*/ 928 w 1209"/>
                <a:gd name="T21" fmla="*/ 648 h 785"/>
                <a:gd name="T22" fmla="*/ 832 w 1209"/>
                <a:gd name="T23" fmla="*/ 696 h 785"/>
                <a:gd name="T24" fmla="*/ 808 w 1209"/>
                <a:gd name="T25" fmla="*/ 720 h 785"/>
                <a:gd name="T26" fmla="*/ 728 w 1209"/>
                <a:gd name="T27" fmla="*/ 736 h 785"/>
                <a:gd name="T28" fmla="*/ 656 w 1209"/>
                <a:gd name="T29" fmla="*/ 712 h 785"/>
                <a:gd name="T30" fmla="*/ 632 w 1209"/>
                <a:gd name="T31" fmla="*/ 680 h 785"/>
                <a:gd name="T32" fmla="*/ 584 w 1209"/>
                <a:gd name="T33" fmla="*/ 704 h 785"/>
                <a:gd name="T34" fmla="*/ 536 w 1209"/>
                <a:gd name="T35" fmla="*/ 728 h 785"/>
                <a:gd name="T36" fmla="*/ 456 w 1209"/>
                <a:gd name="T37" fmla="*/ 672 h 785"/>
                <a:gd name="T38" fmla="*/ 408 w 1209"/>
                <a:gd name="T39" fmla="*/ 640 h 785"/>
                <a:gd name="T40" fmla="*/ 360 w 1209"/>
                <a:gd name="T41" fmla="*/ 624 h 785"/>
                <a:gd name="T42" fmla="*/ 320 w 1209"/>
                <a:gd name="T43" fmla="*/ 592 h 785"/>
                <a:gd name="T44" fmla="*/ 272 w 1209"/>
                <a:gd name="T45" fmla="*/ 520 h 785"/>
                <a:gd name="T46" fmla="*/ 248 w 1209"/>
                <a:gd name="T47" fmla="*/ 512 h 785"/>
                <a:gd name="T48" fmla="*/ 208 w 1209"/>
                <a:gd name="T49" fmla="*/ 456 h 785"/>
                <a:gd name="T50" fmla="*/ 160 w 1209"/>
                <a:gd name="T51" fmla="*/ 384 h 785"/>
                <a:gd name="T52" fmla="*/ 120 w 1209"/>
                <a:gd name="T53" fmla="*/ 408 h 785"/>
                <a:gd name="T54" fmla="*/ 64 w 1209"/>
                <a:gd name="T55" fmla="*/ 328 h 785"/>
                <a:gd name="T56" fmla="*/ 32 w 1209"/>
                <a:gd name="T57" fmla="*/ 272 h 785"/>
                <a:gd name="T58" fmla="*/ 0 w 1209"/>
                <a:gd name="T59" fmla="*/ 256 h 785"/>
                <a:gd name="T60" fmla="*/ 16 w 1209"/>
                <a:gd name="T61" fmla="*/ 176 h 785"/>
                <a:gd name="T62" fmla="*/ 48 w 1209"/>
                <a:gd name="T63" fmla="*/ 192 h 785"/>
                <a:gd name="T64" fmla="*/ 80 w 1209"/>
                <a:gd name="T65" fmla="*/ 184 h 785"/>
                <a:gd name="T66" fmla="*/ 80 w 1209"/>
                <a:gd name="T67" fmla="*/ 128 h 785"/>
                <a:gd name="T68" fmla="*/ 56 w 1209"/>
                <a:gd name="T69" fmla="*/ 96 h 785"/>
                <a:gd name="T70" fmla="*/ 80 w 1209"/>
                <a:gd name="T71" fmla="*/ 48 h 785"/>
                <a:gd name="T72" fmla="*/ 152 w 1209"/>
                <a:gd name="T73" fmla="*/ 40 h 785"/>
                <a:gd name="T74" fmla="*/ 208 w 1209"/>
                <a:gd name="T75" fmla="*/ 8 h 785"/>
                <a:gd name="T76" fmla="*/ 288 w 1209"/>
                <a:gd name="T77" fmla="*/ 16 h 785"/>
                <a:gd name="T78" fmla="*/ 344 w 1209"/>
                <a:gd name="T79" fmla="*/ 56 h 785"/>
                <a:gd name="T80" fmla="*/ 432 w 1209"/>
                <a:gd name="T81" fmla="*/ 56 h 785"/>
                <a:gd name="T82" fmla="*/ 528 w 1209"/>
                <a:gd name="T83" fmla="*/ 40 h 785"/>
                <a:gd name="T84" fmla="*/ 664 w 1209"/>
                <a:gd name="T85" fmla="*/ 56 h 785"/>
                <a:gd name="T86" fmla="*/ 712 w 1209"/>
                <a:gd name="T87" fmla="*/ 72 h 785"/>
                <a:gd name="T88" fmla="*/ 704 w 1209"/>
                <a:gd name="T89" fmla="*/ 96 h 785"/>
                <a:gd name="T90" fmla="*/ 728 w 1209"/>
                <a:gd name="T91" fmla="*/ 136 h 785"/>
                <a:gd name="T92" fmla="*/ 712 w 1209"/>
                <a:gd name="T93" fmla="*/ 184 h 785"/>
                <a:gd name="T94" fmla="*/ 696 w 1209"/>
                <a:gd name="T95" fmla="*/ 248 h 785"/>
                <a:gd name="T96" fmla="*/ 736 w 1209"/>
                <a:gd name="T97" fmla="*/ 320 h 785"/>
                <a:gd name="T98" fmla="*/ 832 w 1209"/>
                <a:gd name="T99" fmla="*/ 368 h 785"/>
                <a:gd name="T100" fmla="*/ 936 w 1209"/>
                <a:gd name="T101" fmla="*/ 416 h 785"/>
                <a:gd name="T102" fmla="*/ 992 w 1209"/>
                <a:gd name="T103" fmla="*/ 424 h 785"/>
                <a:gd name="T104" fmla="*/ 1008 w 1209"/>
                <a:gd name="T105" fmla="*/ 480 h 785"/>
                <a:gd name="T106" fmla="*/ 1040 w 1209"/>
                <a:gd name="T107" fmla="*/ 496 h 785"/>
                <a:gd name="T108" fmla="*/ 1056 w 1209"/>
                <a:gd name="T109" fmla="*/ 472 h 785"/>
                <a:gd name="T110" fmla="*/ 1080 w 1209"/>
                <a:gd name="T111" fmla="*/ 480 h 785"/>
                <a:gd name="T112" fmla="*/ 1096 w 1209"/>
                <a:gd name="T113" fmla="*/ 464 h 785"/>
                <a:gd name="T114" fmla="*/ 1136 w 1209"/>
                <a:gd name="T115" fmla="*/ 440 h 785"/>
                <a:gd name="T116" fmla="*/ 1176 w 1209"/>
                <a:gd name="T117" fmla="*/ 456 h 785"/>
                <a:gd name="T118" fmla="*/ 1208 w 1209"/>
                <a:gd name="T119" fmla="*/ 536 h 785"/>
                <a:gd name="T120" fmla="*/ 1208 w 1209"/>
                <a:gd name="T121" fmla="*/ 576 h 785"/>
                <a:gd name="T122" fmla="*/ 1200 w 1209"/>
                <a:gd name="T123" fmla="*/ 712 h 785"/>
                <a:gd name="T124" fmla="*/ 0 w 1209"/>
                <a:gd name="T125" fmla="*/ 0 h 785"/>
                <a:gd name="T126" fmla="*/ 1209 w 1209"/>
                <a:gd name="T127" fmla="*/ 785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T124" t="T125" r="T126" b="T127"/>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6" name="Freeform 24"/>
            <p:cNvSpPr/>
            <p:nvPr/>
          </p:nvSpPr>
          <p:spPr bwMode="auto">
            <a:xfrm>
              <a:off x="2876890" y="3871565"/>
              <a:ext cx="1133475" cy="869950"/>
            </a:xfrm>
            <a:custGeom>
              <a:avLst/>
              <a:gdLst>
                <a:gd name="T0" fmla="*/ 696 w 761"/>
                <a:gd name="T1" fmla="*/ 488 h 633"/>
                <a:gd name="T2" fmla="*/ 672 w 761"/>
                <a:gd name="T3" fmla="*/ 504 h 633"/>
                <a:gd name="T4" fmla="*/ 656 w 761"/>
                <a:gd name="T5" fmla="*/ 488 h 633"/>
                <a:gd name="T6" fmla="*/ 608 w 761"/>
                <a:gd name="T7" fmla="*/ 432 h 633"/>
                <a:gd name="T8" fmla="*/ 584 w 761"/>
                <a:gd name="T9" fmla="*/ 424 h 633"/>
                <a:gd name="T10" fmla="*/ 552 w 761"/>
                <a:gd name="T11" fmla="*/ 440 h 633"/>
                <a:gd name="T12" fmla="*/ 536 w 761"/>
                <a:gd name="T13" fmla="*/ 472 h 633"/>
                <a:gd name="T14" fmla="*/ 512 w 761"/>
                <a:gd name="T15" fmla="*/ 464 h 633"/>
                <a:gd name="T16" fmla="*/ 472 w 761"/>
                <a:gd name="T17" fmla="*/ 472 h 633"/>
                <a:gd name="T18" fmla="*/ 504 w 761"/>
                <a:gd name="T19" fmla="*/ 496 h 633"/>
                <a:gd name="T20" fmla="*/ 456 w 761"/>
                <a:gd name="T21" fmla="*/ 528 h 633"/>
                <a:gd name="T22" fmla="*/ 416 w 761"/>
                <a:gd name="T23" fmla="*/ 520 h 633"/>
                <a:gd name="T24" fmla="*/ 392 w 761"/>
                <a:gd name="T25" fmla="*/ 456 h 633"/>
                <a:gd name="T26" fmla="*/ 360 w 761"/>
                <a:gd name="T27" fmla="*/ 488 h 633"/>
                <a:gd name="T28" fmla="*/ 336 w 761"/>
                <a:gd name="T29" fmla="*/ 504 h 633"/>
                <a:gd name="T30" fmla="*/ 296 w 761"/>
                <a:gd name="T31" fmla="*/ 536 h 633"/>
                <a:gd name="T32" fmla="*/ 272 w 761"/>
                <a:gd name="T33" fmla="*/ 632 h 633"/>
                <a:gd name="T34" fmla="*/ 248 w 761"/>
                <a:gd name="T35" fmla="*/ 632 h 633"/>
                <a:gd name="T36" fmla="*/ 216 w 761"/>
                <a:gd name="T37" fmla="*/ 624 h 633"/>
                <a:gd name="T38" fmla="*/ 200 w 761"/>
                <a:gd name="T39" fmla="*/ 576 h 633"/>
                <a:gd name="T40" fmla="*/ 144 w 761"/>
                <a:gd name="T41" fmla="*/ 496 h 633"/>
                <a:gd name="T42" fmla="*/ 128 w 761"/>
                <a:gd name="T43" fmla="*/ 480 h 633"/>
                <a:gd name="T44" fmla="*/ 104 w 761"/>
                <a:gd name="T45" fmla="*/ 424 h 633"/>
                <a:gd name="T46" fmla="*/ 80 w 761"/>
                <a:gd name="T47" fmla="*/ 464 h 633"/>
                <a:gd name="T48" fmla="*/ 72 w 761"/>
                <a:gd name="T49" fmla="*/ 248 h 633"/>
                <a:gd name="T50" fmla="*/ 72 w 761"/>
                <a:gd name="T51" fmla="*/ 216 h 633"/>
                <a:gd name="T52" fmla="*/ 40 w 761"/>
                <a:gd name="T53" fmla="*/ 136 h 633"/>
                <a:gd name="T54" fmla="*/ 0 w 761"/>
                <a:gd name="T55" fmla="*/ 104 h 633"/>
                <a:gd name="T56" fmla="*/ 8 w 761"/>
                <a:gd name="T57" fmla="*/ 64 h 633"/>
                <a:gd name="T58" fmla="*/ 16 w 761"/>
                <a:gd name="T59" fmla="*/ 32 h 633"/>
                <a:gd name="T60" fmla="*/ 32 w 761"/>
                <a:gd name="T61" fmla="*/ 0 h 633"/>
                <a:gd name="T62" fmla="*/ 64 w 761"/>
                <a:gd name="T63" fmla="*/ 16 h 633"/>
                <a:gd name="T64" fmla="*/ 88 w 761"/>
                <a:gd name="T65" fmla="*/ 80 h 633"/>
                <a:gd name="T66" fmla="*/ 128 w 761"/>
                <a:gd name="T67" fmla="*/ 120 h 633"/>
                <a:gd name="T68" fmla="*/ 152 w 761"/>
                <a:gd name="T69" fmla="*/ 104 h 633"/>
                <a:gd name="T70" fmla="*/ 176 w 761"/>
                <a:gd name="T71" fmla="*/ 128 h 633"/>
                <a:gd name="T72" fmla="*/ 224 w 761"/>
                <a:gd name="T73" fmla="*/ 96 h 633"/>
                <a:gd name="T74" fmla="*/ 288 w 761"/>
                <a:gd name="T75" fmla="*/ 96 h 633"/>
                <a:gd name="T76" fmla="*/ 296 w 761"/>
                <a:gd name="T77" fmla="*/ 40 h 633"/>
                <a:gd name="T78" fmla="*/ 320 w 761"/>
                <a:gd name="T79" fmla="*/ 32 h 633"/>
                <a:gd name="T80" fmla="*/ 344 w 761"/>
                <a:gd name="T81" fmla="*/ 48 h 633"/>
                <a:gd name="T82" fmla="*/ 400 w 761"/>
                <a:gd name="T83" fmla="*/ 72 h 633"/>
                <a:gd name="T84" fmla="*/ 416 w 761"/>
                <a:gd name="T85" fmla="*/ 136 h 633"/>
                <a:gd name="T86" fmla="*/ 472 w 761"/>
                <a:gd name="T87" fmla="*/ 160 h 633"/>
                <a:gd name="T88" fmla="*/ 512 w 761"/>
                <a:gd name="T89" fmla="*/ 136 h 633"/>
                <a:gd name="T90" fmla="*/ 552 w 761"/>
                <a:gd name="T91" fmla="*/ 144 h 633"/>
                <a:gd name="T92" fmla="*/ 624 w 761"/>
                <a:gd name="T93" fmla="*/ 184 h 633"/>
                <a:gd name="T94" fmla="*/ 704 w 761"/>
                <a:gd name="T95" fmla="*/ 224 h 633"/>
                <a:gd name="T96" fmla="*/ 760 w 761"/>
                <a:gd name="T97" fmla="*/ 256 h 633"/>
                <a:gd name="T98" fmla="*/ 744 w 761"/>
                <a:gd name="T99" fmla="*/ 296 h 633"/>
                <a:gd name="T100" fmla="*/ 664 w 761"/>
                <a:gd name="T101" fmla="*/ 312 h 633"/>
                <a:gd name="T102" fmla="*/ 648 w 761"/>
                <a:gd name="T103" fmla="*/ 336 h 633"/>
                <a:gd name="T104" fmla="*/ 656 w 761"/>
                <a:gd name="T105" fmla="*/ 360 h 633"/>
                <a:gd name="T106" fmla="*/ 656 w 761"/>
                <a:gd name="T107" fmla="*/ 376 h 633"/>
                <a:gd name="T108" fmla="*/ 704 w 761"/>
                <a:gd name="T109" fmla="*/ 456 h 633"/>
                <a:gd name="T110" fmla="*/ 0 w 761"/>
                <a:gd name="T111" fmla="*/ 0 h 633"/>
                <a:gd name="T112" fmla="*/ 761 w 761"/>
                <a:gd name="T113"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solidFill>
              <a:srgbClr val="2C53B6"/>
            </a:solidFill>
            <a:ln w="3175" cap="rnd" cmpd="sng">
              <a:solidFill>
                <a:schemeClr val="bg1"/>
              </a:solidFill>
              <a:miter lim="800000"/>
            </a:ln>
          </p:spPr>
          <p:txBody>
            <a:bodyPr/>
            <a:lstStyle/>
            <a:p>
              <a:endParaRPr lang="zh-CN" altLang="en-US" sz="975"/>
            </a:p>
          </p:txBody>
        </p:sp>
        <p:sp>
          <p:nvSpPr>
            <p:cNvPr id="37" name="Freeform 25"/>
            <p:cNvSpPr/>
            <p:nvPr/>
          </p:nvSpPr>
          <p:spPr bwMode="auto">
            <a:xfrm>
              <a:off x="2221253" y="3266727"/>
              <a:ext cx="1169987" cy="847725"/>
            </a:xfrm>
            <a:custGeom>
              <a:avLst/>
              <a:gdLst>
                <a:gd name="T0" fmla="*/ 672 w 785"/>
                <a:gd name="T1" fmla="*/ 536 h 617"/>
                <a:gd name="T2" fmla="*/ 616 w 785"/>
                <a:gd name="T3" fmla="*/ 568 h 617"/>
                <a:gd name="T4" fmla="*/ 592 w 785"/>
                <a:gd name="T5" fmla="*/ 544 h 617"/>
                <a:gd name="T6" fmla="*/ 568 w 785"/>
                <a:gd name="T7" fmla="*/ 560 h 617"/>
                <a:gd name="T8" fmla="*/ 528 w 785"/>
                <a:gd name="T9" fmla="*/ 520 h 617"/>
                <a:gd name="T10" fmla="*/ 504 w 785"/>
                <a:gd name="T11" fmla="*/ 456 h 617"/>
                <a:gd name="T12" fmla="*/ 472 w 785"/>
                <a:gd name="T13" fmla="*/ 440 h 617"/>
                <a:gd name="T14" fmla="*/ 456 w 785"/>
                <a:gd name="T15" fmla="*/ 456 h 617"/>
                <a:gd name="T16" fmla="*/ 464 w 785"/>
                <a:gd name="T17" fmla="*/ 480 h 617"/>
                <a:gd name="T18" fmla="*/ 440 w 785"/>
                <a:gd name="T19" fmla="*/ 536 h 617"/>
                <a:gd name="T20" fmla="*/ 456 w 785"/>
                <a:gd name="T21" fmla="*/ 552 h 617"/>
                <a:gd name="T22" fmla="*/ 424 w 785"/>
                <a:gd name="T23" fmla="*/ 584 h 617"/>
                <a:gd name="T24" fmla="*/ 400 w 785"/>
                <a:gd name="T25" fmla="*/ 600 h 617"/>
                <a:gd name="T26" fmla="*/ 376 w 785"/>
                <a:gd name="T27" fmla="*/ 592 h 617"/>
                <a:gd name="T28" fmla="*/ 368 w 785"/>
                <a:gd name="T29" fmla="*/ 608 h 617"/>
                <a:gd name="T30" fmla="*/ 336 w 785"/>
                <a:gd name="T31" fmla="*/ 600 h 617"/>
                <a:gd name="T32" fmla="*/ 320 w 785"/>
                <a:gd name="T33" fmla="*/ 568 h 617"/>
                <a:gd name="T34" fmla="*/ 232 w 785"/>
                <a:gd name="T35" fmla="*/ 536 h 617"/>
                <a:gd name="T36" fmla="*/ 136 w 785"/>
                <a:gd name="T37" fmla="*/ 496 h 617"/>
                <a:gd name="T38" fmla="*/ 40 w 785"/>
                <a:gd name="T39" fmla="*/ 440 h 617"/>
                <a:gd name="T40" fmla="*/ 0 w 785"/>
                <a:gd name="T41" fmla="*/ 368 h 617"/>
                <a:gd name="T42" fmla="*/ 16 w 785"/>
                <a:gd name="T43" fmla="*/ 304 h 617"/>
                <a:gd name="T44" fmla="*/ 32 w 785"/>
                <a:gd name="T45" fmla="*/ 248 h 617"/>
                <a:gd name="T46" fmla="*/ 8 w 785"/>
                <a:gd name="T47" fmla="*/ 216 h 617"/>
                <a:gd name="T48" fmla="*/ 48 w 785"/>
                <a:gd name="T49" fmla="*/ 208 h 617"/>
                <a:gd name="T50" fmla="*/ 104 w 785"/>
                <a:gd name="T51" fmla="*/ 224 h 617"/>
                <a:gd name="T52" fmla="*/ 96 w 785"/>
                <a:gd name="T53" fmla="*/ 184 h 617"/>
                <a:gd name="T54" fmla="*/ 128 w 785"/>
                <a:gd name="T55" fmla="*/ 136 h 617"/>
                <a:gd name="T56" fmla="*/ 88 w 785"/>
                <a:gd name="T57" fmla="*/ 72 h 617"/>
                <a:gd name="T58" fmla="*/ 152 w 785"/>
                <a:gd name="T59" fmla="*/ 16 h 617"/>
                <a:gd name="T60" fmla="*/ 288 w 785"/>
                <a:gd name="T61" fmla="*/ 0 h 617"/>
                <a:gd name="T62" fmla="*/ 384 w 785"/>
                <a:gd name="T63" fmla="*/ 40 h 617"/>
                <a:gd name="T64" fmla="*/ 456 w 785"/>
                <a:gd name="T65" fmla="*/ 104 h 617"/>
                <a:gd name="T66" fmla="*/ 472 w 785"/>
                <a:gd name="T67" fmla="*/ 48 h 617"/>
                <a:gd name="T68" fmla="*/ 528 w 785"/>
                <a:gd name="T69" fmla="*/ 72 h 617"/>
                <a:gd name="T70" fmla="*/ 592 w 785"/>
                <a:gd name="T71" fmla="*/ 96 h 617"/>
                <a:gd name="T72" fmla="*/ 656 w 785"/>
                <a:gd name="T73" fmla="*/ 120 h 617"/>
                <a:gd name="T74" fmla="*/ 728 w 785"/>
                <a:gd name="T75" fmla="*/ 176 h 617"/>
                <a:gd name="T76" fmla="*/ 768 w 785"/>
                <a:gd name="T77" fmla="*/ 232 h 617"/>
                <a:gd name="T78" fmla="*/ 784 w 785"/>
                <a:gd name="T79" fmla="*/ 336 h 617"/>
                <a:gd name="T80" fmla="*/ 752 w 785"/>
                <a:gd name="T81" fmla="*/ 360 h 617"/>
                <a:gd name="T82" fmla="*/ 712 w 785"/>
                <a:gd name="T83" fmla="*/ 408 h 617"/>
                <a:gd name="T84" fmla="*/ 736 w 785"/>
                <a:gd name="T85" fmla="*/ 432 h 617"/>
                <a:gd name="T86" fmla="*/ 704 w 785"/>
                <a:gd name="T87" fmla="*/ 456 h 617"/>
                <a:gd name="T88" fmla="*/ 656 w 785"/>
                <a:gd name="T89" fmla="*/ 448 h 617"/>
                <a:gd name="T90" fmla="*/ 664 w 785"/>
                <a:gd name="T91" fmla="*/ 488 h 617"/>
                <a:gd name="T92" fmla="*/ 712 w 785"/>
                <a:gd name="T93" fmla="*/ 504 h 617"/>
                <a:gd name="T94" fmla="*/ 0 w 785"/>
                <a:gd name="T95" fmla="*/ 0 h 617"/>
                <a:gd name="T96" fmla="*/ 785 w 785"/>
                <a:gd name="T9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T94" t="T95" r="T96" b="T97"/>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8" name="Freeform 26"/>
            <p:cNvSpPr/>
            <p:nvPr/>
          </p:nvSpPr>
          <p:spPr bwMode="auto">
            <a:xfrm>
              <a:off x="4343740" y="4343052"/>
              <a:ext cx="454025" cy="587375"/>
            </a:xfrm>
            <a:custGeom>
              <a:avLst/>
              <a:gdLst>
                <a:gd name="T0" fmla="*/ 272 w 305"/>
                <a:gd name="T1" fmla="*/ 40 h 425"/>
                <a:gd name="T2" fmla="*/ 280 w 305"/>
                <a:gd name="T3" fmla="*/ 72 h 425"/>
                <a:gd name="T4" fmla="*/ 304 w 305"/>
                <a:gd name="T5" fmla="*/ 88 h 425"/>
                <a:gd name="T6" fmla="*/ 304 w 305"/>
                <a:gd name="T7" fmla="*/ 136 h 425"/>
                <a:gd name="T8" fmla="*/ 272 w 305"/>
                <a:gd name="T9" fmla="*/ 152 h 425"/>
                <a:gd name="T10" fmla="*/ 272 w 305"/>
                <a:gd name="T11" fmla="*/ 160 h 425"/>
                <a:gd name="T12" fmla="*/ 240 w 305"/>
                <a:gd name="T13" fmla="*/ 160 h 425"/>
                <a:gd name="T14" fmla="*/ 224 w 305"/>
                <a:gd name="T15" fmla="*/ 176 h 425"/>
                <a:gd name="T16" fmla="*/ 224 w 305"/>
                <a:gd name="T17" fmla="*/ 200 h 425"/>
                <a:gd name="T18" fmla="*/ 232 w 305"/>
                <a:gd name="T19" fmla="*/ 208 h 425"/>
                <a:gd name="T20" fmla="*/ 208 w 305"/>
                <a:gd name="T21" fmla="*/ 240 h 425"/>
                <a:gd name="T22" fmla="*/ 192 w 305"/>
                <a:gd name="T23" fmla="*/ 240 h 425"/>
                <a:gd name="T24" fmla="*/ 192 w 305"/>
                <a:gd name="T25" fmla="*/ 272 h 425"/>
                <a:gd name="T26" fmla="*/ 192 w 305"/>
                <a:gd name="T27" fmla="*/ 280 h 425"/>
                <a:gd name="T28" fmla="*/ 192 w 305"/>
                <a:gd name="T29" fmla="*/ 304 h 425"/>
                <a:gd name="T30" fmla="*/ 176 w 305"/>
                <a:gd name="T31" fmla="*/ 320 h 425"/>
                <a:gd name="T32" fmla="*/ 168 w 305"/>
                <a:gd name="T33" fmla="*/ 360 h 425"/>
                <a:gd name="T34" fmla="*/ 160 w 305"/>
                <a:gd name="T35" fmla="*/ 384 h 425"/>
                <a:gd name="T36" fmla="*/ 160 w 305"/>
                <a:gd name="T37" fmla="*/ 392 h 425"/>
                <a:gd name="T38" fmla="*/ 152 w 305"/>
                <a:gd name="T39" fmla="*/ 416 h 425"/>
                <a:gd name="T40" fmla="*/ 136 w 305"/>
                <a:gd name="T41" fmla="*/ 416 h 425"/>
                <a:gd name="T42" fmla="*/ 128 w 305"/>
                <a:gd name="T43" fmla="*/ 408 h 425"/>
                <a:gd name="T44" fmla="*/ 64 w 305"/>
                <a:gd name="T45" fmla="*/ 424 h 425"/>
                <a:gd name="T46" fmla="*/ 56 w 305"/>
                <a:gd name="T47" fmla="*/ 416 h 425"/>
                <a:gd name="T48" fmla="*/ 80 w 305"/>
                <a:gd name="T49" fmla="*/ 368 h 425"/>
                <a:gd name="T50" fmla="*/ 56 w 305"/>
                <a:gd name="T51" fmla="*/ 360 h 425"/>
                <a:gd name="T52" fmla="*/ 40 w 305"/>
                <a:gd name="T53" fmla="*/ 368 h 425"/>
                <a:gd name="T54" fmla="*/ 24 w 305"/>
                <a:gd name="T55" fmla="*/ 360 h 425"/>
                <a:gd name="T56" fmla="*/ 24 w 305"/>
                <a:gd name="T57" fmla="*/ 320 h 425"/>
                <a:gd name="T58" fmla="*/ 40 w 305"/>
                <a:gd name="T59" fmla="*/ 312 h 425"/>
                <a:gd name="T60" fmla="*/ 48 w 305"/>
                <a:gd name="T61" fmla="*/ 312 h 425"/>
                <a:gd name="T62" fmla="*/ 48 w 305"/>
                <a:gd name="T63" fmla="*/ 288 h 425"/>
                <a:gd name="T64" fmla="*/ 32 w 305"/>
                <a:gd name="T65" fmla="*/ 288 h 425"/>
                <a:gd name="T66" fmla="*/ 32 w 305"/>
                <a:gd name="T67" fmla="*/ 272 h 425"/>
                <a:gd name="T68" fmla="*/ 16 w 305"/>
                <a:gd name="T69" fmla="*/ 264 h 425"/>
                <a:gd name="T70" fmla="*/ 16 w 305"/>
                <a:gd name="T71" fmla="*/ 216 h 425"/>
                <a:gd name="T72" fmla="*/ 0 w 305"/>
                <a:gd name="T73" fmla="*/ 200 h 425"/>
                <a:gd name="T74" fmla="*/ 8 w 305"/>
                <a:gd name="T75" fmla="*/ 176 h 425"/>
                <a:gd name="T76" fmla="*/ 32 w 305"/>
                <a:gd name="T77" fmla="*/ 152 h 425"/>
                <a:gd name="T78" fmla="*/ 32 w 305"/>
                <a:gd name="T79" fmla="*/ 128 h 425"/>
                <a:gd name="T80" fmla="*/ 24 w 305"/>
                <a:gd name="T81" fmla="*/ 120 h 425"/>
                <a:gd name="T82" fmla="*/ 32 w 305"/>
                <a:gd name="T83" fmla="*/ 104 h 425"/>
                <a:gd name="T84" fmla="*/ 16 w 305"/>
                <a:gd name="T85" fmla="*/ 80 h 425"/>
                <a:gd name="T86" fmla="*/ 32 w 305"/>
                <a:gd name="T87" fmla="*/ 64 h 425"/>
                <a:gd name="T88" fmla="*/ 56 w 305"/>
                <a:gd name="T89" fmla="*/ 56 h 425"/>
                <a:gd name="T90" fmla="*/ 112 w 305"/>
                <a:gd name="T91" fmla="*/ 24 h 425"/>
                <a:gd name="T92" fmla="*/ 144 w 305"/>
                <a:gd name="T93" fmla="*/ 8 h 425"/>
                <a:gd name="T94" fmla="*/ 168 w 305"/>
                <a:gd name="T95" fmla="*/ 8 h 425"/>
                <a:gd name="T96" fmla="*/ 184 w 305"/>
                <a:gd name="T97" fmla="*/ 0 h 425"/>
                <a:gd name="T98" fmla="*/ 192 w 305"/>
                <a:gd name="T99" fmla="*/ 8 h 425"/>
                <a:gd name="T100" fmla="*/ 184 w 305"/>
                <a:gd name="T101" fmla="*/ 16 h 425"/>
                <a:gd name="T102" fmla="*/ 184 w 305"/>
                <a:gd name="T103" fmla="*/ 32 h 425"/>
                <a:gd name="T104" fmla="*/ 208 w 305"/>
                <a:gd name="T105" fmla="*/ 32 h 425"/>
                <a:gd name="T106" fmla="*/ 208 w 305"/>
                <a:gd name="T107" fmla="*/ 16 h 425"/>
                <a:gd name="T108" fmla="*/ 216 w 305"/>
                <a:gd name="T109" fmla="*/ 0 h 425"/>
                <a:gd name="T110" fmla="*/ 232 w 305"/>
                <a:gd name="T111" fmla="*/ 16 h 425"/>
                <a:gd name="T112" fmla="*/ 240 w 305"/>
                <a:gd name="T113" fmla="*/ 32 h 425"/>
                <a:gd name="T114" fmla="*/ 272 w 305"/>
                <a:gd name="T115" fmla="*/ 32 h 425"/>
                <a:gd name="T116" fmla="*/ 272 w 305"/>
                <a:gd name="T117" fmla="*/ 40 h 425"/>
                <a:gd name="T118" fmla="*/ 0 w 305"/>
                <a:gd name="T119" fmla="*/ 0 h 425"/>
                <a:gd name="T120" fmla="*/ 305 w 305"/>
                <a:gd name="T121"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T118" t="T119" r="T120" b="T121"/>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solidFill>
              <a:schemeClr val="bg1">
                <a:lumMod val="50000"/>
              </a:schemeClr>
            </a:solidFill>
            <a:ln w="3175" cap="rnd" cmpd="sng">
              <a:solidFill>
                <a:schemeClr val="bg1"/>
              </a:solidFill>
              <a:miter lim="800000"/>
            </a:ln>
          </p:spPr>
          <p:txBody>
            <a:bodyPr/>
            <a:lstStyle/>
            <a:p>
              <a:endParaRPr lang="zh-CN" altLang="en-US" sz="975"/>
            </a:p>
          </p:txBody>
        </p:sp>
        <p:sp>
          <p:nvSpPr>
            <p:cNvPr id="39" name="Freeform 27"/>
            <p:cNvSpPr/>
            <p:nvPr/>
          </p:nvSpPr>
          <p:spPr bwMode="auto">
            <a:xfrm>
              <a:off x="3888128" y="4343052"/>
              <a:ext cx="527050" cy="576263"/>
            </a:xfrm>
            <a:custGeom>
              <a:avLst/>
              <a:gdLst>
                <a:gd name="T0" fmla="*/ 336 w 353"/>
                <a:gd name="T1" fmla="*/ 104 h 417"/>
                <a:gd name="T2" fmla="*/ 344 w 353"/>
                <a:gd name="T3" fmla="*/ 128 h 417"/>
                <a:gd name="T4" fmla="*/ 312 w 353"/>
                <a:gd name="T5" fmla="*/ 176 h 417"/>
                <a:gd name="T6" fmla="*/ 320 w 353"/>
                <a:gd name="T7" fmla="*/ 216 h 417"/>
                <a:gd name="T8" fmla="*/ 320 w 353"/>
                <a:gd name="T9" fmla="*/ 264 h 417"/>
                <a:gd name="T10" fmla="*/ 328 w 353"/>
                <a:gd name="T11" fmla="*/ 288 h 417"/>
                <a:gd name="T12" fmla="*/ 352 w 353"/>
                <a:gd name="T13" fmla="*/ 312 h 417"/>
                <a:gd name="T14" fmla="*/ 328 w 353"/>
                <a:gd name="T15" fmla="*/ 320 h 417"/>
                <a:gd name="T16" fmla="*/ 320 w 353"/>
                <a:gd name="T17" fmla="*/ 368 h 417"/>
                <a:gd name="T18" fmla="*/ 272 w 353"/>
                <a:gd name="T19" fmla="*/ 400 h 417"/>
                <a:gd name="T20" fmla="*/ 224 w 353"/>
                <a:gd name="T21" fmla="*/ 376 h 417"/>
                <a:gd name="T22" fmla="*/ 216 w 353"/>
                <a:gd name="T23" fmla="*/ 408 h 417"/>
                <a:gd name="T24" fmla="*/ 192 w 353"/>
                <a:gd name="T25" fmla="*/ 416 h 417"/>
                <a:gd name="T26" fmla="*/ 168 w 353"/>
                <a:gd name="T27" fmla="*/ 384 h 417"/>
                <a:gd name="T28" fmla="*/ 152 w 353"/>
                <a:gd name="T29" fmla="*/ 400 h 417"/>
                <a:gd name="T30" fmla="*/ 144 w 353"/>
                <a:gd name="T31" fmla="*/ 352 h 417"/>
                <a:gd name="T32" fmla="*/ 152 w 353"/>
                <a:gd name="T33" fmla="*/ 312 h 417"/>
                <a:gd name="T34" fmla="*/ 144 w 353"/>
                <a:gd name="T35" fmla="*/ 288 h 417"/>
                <a:gd name="T36" fmla="*/ 96 w 353"/>
                <a:gd name="T37" fmla="*/ 312 h 417"/>
                <a:gd name="T38" fmla="*/ 64 w 353"/>
                <a:gd name="T39" fmla="*/ 304 h 417"/>
                <a:gd name="T40" fmla="*/ 32 w 353"/>
                <a:gd name="T41" fmla="*/ 312 h 417"/>
                <a:gd name="T42" fmla="*/ 24 w 353"/>
                <a:gd name="T43" fmla="*/ 304 h 417"/>
                <a:gd name="T44" fmla="*/ 16 w 353"/>
                <a:gd name="T45" fmla="*/ 264 h 417"/>
                <a:gd name="T46" fmla="*/ 24 w 353"/>
                <a:gd name="T47" fmla="*/ 240 h 417"/>
                <a:gd name="T48" fmla="*/ 0 w 353"/>
                <a:gd name="T49" fmla="*/ 224 h 417"/>
                <a:gd name="T50" fmla="*/ 24 w 353"/>
                <a:gd name="T51" fmla="*/ 168 h 417"/>
                <a:gd name="T52" fmla="*/ 24 w 353"/>
                <a:gd name="T53" fmla="*/ 136 h 417"/>
                <a:gd name="T54" fmla="*/ 24 w 353"/>
                <a:gd name="T55" fmla="*/ 120 h 417"/>
                <a:gd name="T56" fmla="*/ 48 w 353"/>
                <a:gd name="T57" fmla="*/ 32 h 417"/>
                <a:gd name="T58" fmla="*/ 104 w 353"/>
                <a:gd name="T59" fmla="*/ 40 h 417"/>
                <a:gd name="T60" fmla="*/ 112 w 353"/>
                <a:gd name="T61" fmla="*/ 0 h 417"/>
                <a:gd name="T62" fmla="*/ 184 w 353"/>
                <a:gd name="T63" fmla="*/ 16 h 417"/>
                <a:gd name="T64" fmla="*/ 248 w 353"/>
                <a:gd name="T65" fmla="*/ 40 h 417"/>
                <a:gd name="T66" fmla="*/ 288 w 353"/>
                <a:gd name="T67" fmla="*/ 32 h 417"/>
                <a:gd name="T68" fmla="*/ 304 w 353"/>
                <a:gd name="T69" fmla="*/ 80 h 417"/>
                <a:gd name="T70" fmla="*/ 0 w 353"/>
                <a:gd name="T71" fmla="*/ 0 h 417"/>
                <a:gd name="T72" fmla="*/ 353 w 353"/>
                <a:gd name="T73"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T70" t="T71" r="T72" b="T73"/>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0" name="Freeform 28"/>
            <p:cNvSpPr/>
            <p:nvPr/>
          </p:nvSpPr>
          <p:spPr bwMode="auto">
            <a:xfrm>
              <a:off x="3842090" y="4016027"/>
              <a:ext cx="728663" cy="439738"/>
            </a:xfrm>
            <a:custGeom>
              <a:avLst/>
              <a:gdLst>
                <a:gd name="T0" fmla="*/ 488 w 489"/>
                <a:gd name="T1" fmla="*/ 248 h 321"/>
                <a:gd name="T2" fmla="*/ 448 w 489"/>
                <a:gd name="T3" fmla="*/ 264 h 321"/>
                <a:gd name="T4" fmla="*/ 392 w 489"/>
                <a:gd name="T5" fmla="*/ 296 h 321"/>
                <a:gd name="T6" fmla="*/ 368 w 489"/>
                <a:gd name="T7" fmla="*/ 304 h 321"/>
                <a:gd name="T8" fmla="*/ 352 w 489"/>
                <a:gd name="T9" fmla="*/ 320 h 321"/>
                <a:gd name="T10" fmla="*/ 328 w 489"/>
                <a:gd name="T11" fmla="*/ 320 h 321"/>
                <a:gd name="T12" fmla="*/ 336 w 489"/>
                <a:gd name="T13" fmla="*/ 272 h 321"/>
                <a:gd name="T14" fmla="*/ 320 w 489"/>
                <a:gd name="T15" fmla="*/ 272 h 321"/>
                <a:gd name="T16" fmla="*/ 288 w 489"/>
                <a:gd name="T17" fmla="*/ 288 h 321"/>
                <a:gd name="T18" fmla="*/ 280 w 489"/>
                <a:gd name="T19" fmla="*/ 280 h 321"/>
                <a:gd name="T20" fmla="*/ 240 w 489"/>
                <a:gd name="T21" fmla="*/ 280 h 321"/>
                <a:gd name="T22" fmla="*/ 224 w 489"/>
                <a:gd name="T23" fmla="*/ 256 h 321"/>
                <a:gd name="T24" fmla="*/ 184 w 489"/>
                <a:gd name="T25" fmla="*/ 256 h 321"/>
                <a:gd name="T26" fmla="*/ 144 w 489"/>
                <a:gd name="T27" fmla="*/ 240 h 321"/>
                <a:gd name="T28" fmla="*/ 128 w 489"/>
                <a:gd name="T29" fmla="*/ 248 h 321"/>
                <a:gd name="T30" fmla="*/ 136 w 489"/>
                <a:gd name="T31" fmla="*/ 280 h 321"/>
                <a:gd name="T32" fmla="*/ 112 w 489"/>
                <a:gd name="T33" fmla="*/ 272 h 321"/>
                <a:gd name="T34" fmla="*/ 80 w 489"/>
                <a:gd name="T35" fmla="*/ 272 h 321"/>
                <a:gd name="T36" fmla="*/ 48 w 489"/>
                <a:gd name="T37" fmla="*/ 320 h 321"/>
                <a:gd name="T38" fmla="*/ 8 w 489"/>
                <a:gd name="T39" fmla="*/ 272 h 321"/>
                <a:gd name="T40" fmla="*/ 0 w 489"/>
                <a:gd name="T41" fmla="*/ 272 h 321"/>
                <a:gd name="T42" fmla="*/ 8 w 489"/>
                <a:gd name="T43" fmla="*/ 256 h 321"/>
                <a:gd name="T44" fmla="*/ 16 w 489"/>
                <a:gd name="T45" fmla="*/ 248 h 321"/>
                <a:gd name="T46" fmla="*/ 0 w 489"/>
                <a:gd name="T47" fmla="*/ 232 h 321"/>
                <a:gd name="T48" fmla="*/ 0 w 489"/>
                <a:gd name="T49" fmla="*/ 224 h 321"/>
                <a:gd name="T50" fmla="*/ 16 w 489"/>
                <a:gd name="T51" fmla="*/ 208 h 321"/>
                <a:gd name="T52" fmla="*/ 72 w 489"/>
                <a:gd name="T53" fmla="*/ 208 h 321"/>
                <a:gd name="T54" fmla="*/ 96 w 489"/>
                <a:gd name="T55" fmla="*/ 192 h 321"/>
                <a:gd name="T56" fmla="*/ 112 w 489"/>
                <a:gd name="T57" fmla="*/ 184 h 321"/>
                <a:gd name="T58" fmla="*/ 112 w 489"/>
                <a:gd name="T59" fmla="*/ 160 h 321"/>
                <a:gd name="T60" fmla="*/ 80 w 489"/>
                <a:gd name="T61" fmla="*/ 120 h 321"/>
                <a:gd name="T62" fmla="*/ 72 w 489"/>
                <a:gd name="T63" fmla="*/ 80 h 321"/>
                <a:gd name="T64" fmla="*/ 88 w 489"/>
                <a:gd name="T65" fmla="*/ 56 h 321"/>
                <a:gd name="T66" fmla="*/ 88 w 489"/>
                <a:gd name="T67" fmla="*/ 40 h 321"/>
                <a:gd name="T68" fmla="*/ 72 w 489"/>
                <a:gd name="T69" fmla="*/ 8 h 321"/>
                <a:gd name="T70" fmla="*/ 128 w 489"/>
                <a:gd name="T71" fmla="*/ 8 h 321"/>
                <a:gd name="T72" fmla="*/ 144 w 489"/>
                <a:gd name="T73" fmla="*/ 16 h 321"/>
                <a:gd name="T74" fmla="*/ 168 w 489"/>
                <a:gd name="T75" fmla="*/ 0 h 321"/>
                <a:gd name="T76" fmla="*/ 208 w 489"/>
                <a:gd name="T77" fmla="*/ 72 h 321"/>
                <a:gd name="T78" fmla="*/ 280 w 489"/>
                <a:gd name="T79" fmla="*/ 72 h 321"/>
                <a:gd name="T80" fmla="*/ 296 w 489"/>
                <a:gd name="T81" fmla="*/ 80 h 321"/>
                <a:gd name="T82" fmla="*/ 312 w 489"/>
                <a:gd name="T83" fmla="*/ 72 h 321"/>
                <a:gd name="T84" fmla="*/ 336 w 489"/>
                <a:gd name="T85" fmla="*/ 88 h 321"/>
                <a:gd name="T86" fmla="*/ 336 w 489"/>
                <a:gd name="T87" fmla="*/ 112 h 321"/>
                <a:gd name="T88" fmla="*/ 352 w 489"/>
                <a:gd name="T89" fmla="*/ 128 h 321"/>
                <a:gd name="T90" fmla="*/ 360 w 489"/>
                <a:gd name="T91" fmla="*/ 112 h 321"/>
                <a:gd name="T92" fmla="*/ 376 w 489"/>
                <a:gd name="T93" fmla="*/ 128 h 321"/>
                <a:gd name="T94" fmla="*/ 408 w 489"/>
                <a:gd name="T95" fmla="*/ 128 h 321"/>
                <a:gd name="T96" fmla="*/ 416 w 489"/>
                <a:gd name="T97" fmla="*/ 120 h 321"/>
                <a:gd name="T98" fmla="*/ 464 w 489"/>
                <a:gd name="T99" fmla="*/ 152 h 321"/>
                <a:gd name="T100" fmla="*/ 472 w 489"/>
                <a:gd name="T101" fmla="*/ 192 h 321"/>
                <a:gd name="T102" fmla="*/ 472 w 489"/>
                <a:gd name="T103" fmla="*/ 216 h 321"/>
                <a:gd name="T104" fmla="*/ 488 w 489"/>
                <a:gd name="T105" fmla="*/ 248 h 321"/>
                <a:gd name="T106" fmla="*/ 0 w 489"/>
                <a:gd name="T107" fmla="*/ 0 h 321"/>
                <a:gd name="T108" fmla="*/ 489 w 489"/>
                <a:gd name="T109"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T106" t="T107" r="T108" b="T109"/>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1" name="Freeform 29"/>
            <p:cNvSpPr/>
            <p:nvPr/>
          </p:nvSpPr>
          <p:spPr bwMode="auto">
            <a:xfrm>
              <a:off x="4426290" y="3860452"/>
              <a:ext cx="454025" cy="530225"/>
            </a:xfrm>
            <a:custGeom>
              <a:avLst/>
              <a:gdLst>
                <a:gd name="T0" fmla="*/ 88 w 305"/>
                <a:gd name="T1" fmla="*/ 0 h 385"/>
                <a:gd name="T2" fmla="*/ 128 w 305"/>
                <a:gd name="T3" fmla="*/ 32 h 385"/>
                <a:gd name="T4" fmla="*/ 176 w 305"/>
                <a:gd name="T5" fmla="*/ 64 h 385"/>
                <a:gd name="T6" fmla="*/ 200 w 305"/>
                <a:gd name="T7" fmla="*/ 96 h 385"/>
                <a:gd name="T8" fmla="*/ 240 w 305"/>
                <a:gd name="T9" fmla="*/ 136 h 385"/>
                <a:gd name="T10" fmla="*/ 272 w 305"/>
                <a:gd name="T11" fmla="*/ 144 h 385"/>
                <a:gd name="T12" fmla="*/ 248 w 305"/>
                <a:gd name="T13" fmla="*/ 144 h 385"/>
                <a:gd name="T14" fmla="*/ 232 w 305"/>
                <a:gd name="T15" fmla="*/ 176 h 385"/>
                <a:gd name="T16" fmla="*/ 248 w 305"/>
                <a:gd name="T17" fmla="*/ 224 h 385"/>
                <a:gd name="T18" fmla="*/ 288 w 305"/>
                <a:gd name="T19" fmla="*/ 248 h 385"/>
                <a:gd name="T20" fmla="*/ 288 w 305"/>
                <a:gd name="T21" fmla="*/ 296 h 385"/>
                <a:gd name="T22" fmla="*/ 280 w 305"/>
                <a:gd name="T23" fmla="*/ 320 h 385"/>
                <a:gd name="T24" fmla="*/ 264 w 305"/>
                <a:gd name="T25" fmla="*/ 312 h 385"/>
                <a:gd name="T26" fmla="*/ 272 w 305"/>
                <a:gd name="T27" fmla="*/ 344 h 385"/>
                <a:gd name="T28" fmla="*/ 264 w 305"/>
                <a:gd name="T29" fmla="*/ 360 h 385"/>
                <a:gd name="T30" fmla="*/ 224 w 305"/>
                <a:gd name="T31" fmla="*/ 384 h 385"/>
                <a:gd name="T32" fmla="*/ 184 w 305"/>
                <a:gd name="T33" fmla="*/ 384 h 385"/>
                <a:gd name="T34" fmla="*/ 152 w 305"/>
                <a:gd name="T35" fmla="*/ 368 h 385"/>
                <a:gd name="T36" fmla="*/ 128 w 305"/>
                <a:gd name="T37" fmla="*/ 384 h 385"/>
                <a:gd name="T38" fmla="*/ 136 w 305"/>
                <a:gd name="T39" fmla="*/ 360 h 385"/>
                <a:gd name="T40" fmla="*/ 120 w 305"/>
                <a:gd name="T41" fmla="*/ 368 h 385"/>
                <a:gd name="T42" fmla="*/ 80 w 305"/>
                <a:gd name="T43" fmla="*/ 312 h 385"/>
                <a:gd name="T44" fmla="*/ 72 w 305"/>
                <a:gd name="T45" fmla="*/ 264 h 385"/>
                <a:gd name="T46" fmla="*/ 72 w 305"/>
                <a:gd name="T47" fmla="*/ 216 h 385"/>
                <a:gd name="T48" fmla="*/ 72 w 305"/>
                <a:gd name="T49" fmla="*/ 160 h 385"/>
                <a:gd name="T50" fmla="*/ 24 w 305"/>
                <a:gd name="T51" fmla="*/ 152 h 385"/>
                <a:gd name="T52" fmla="*/ 0 w 305"/>
                <a:gd name="T53" fmla="*/ 136 h 385"/>
                <a:gd name="T54" fmla="*/ 32 w 305"/>
                <a:gd name="T55" fmla="*/ 120 h 385"/>
                <a:gd name="T56" fmla="*/ 40 w 305"/>
                <a:gd name="T57" fmla="*/ 40 h 385"/>
                <a:gd name="T58" fmla="*/ 72 w 305"/>
                <a:gd name="T59" fmla="*/ 56 h 385"/>
                <a:gd name="T60" fmla="*/ 104 w 305"/>
                <a:gd name="T61" fmla="*/ 48 h 385"/>
                <a:gd name="T62" fmla="*/ 80 w 305"/>
                <a:gd name="T63" fmla="*/ 16 h 385"/>
                <a:gd name="T64" fmla="*/ 0 w 305"/>
                <a:gd name="T65" fmla="*/ 0 h 385"/>
                <a:gd name="T66" fmla="*/ 305 w 305"/>
                <a:gd name="T67"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T64" t="T65" r="T66" b="T67"/>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4" name="Freeform 30"/>
            <p:cNvSpPr/>
            <p:nvPr/>
          </p:nvSpPr>
          <p:spPr bwMode="auto">
            <a:xfrm>
              <a:off x="4021478" y="3695352"/>
              <a:ext cx="561975" cy="495300"/>
            </a:xfrm>
            <a:custGeom>
              <a:avLst/>
              <a:gdLst>
                <a:gd name="T0" fmla="*/ 200 w 377"/>
                <a:gd name="T1" fmla="*/ 8 h 361"/>
                <a:gd name="T2" fmla="*/ 248 w 377"/>
                <a:gd name="T3" fmla="*/ 0 h 361"/>
                <a:gd name="T4" fmla="*/ 264 w 377"/>
                <a:gd name="T5" fmla="*/ 16 h 361"/>
                <a:gd name="T6" fmla="*/ 304 w 377"/>
                <a:gd name="T7" fmla="*/ 24 h 361"/>
                <a:gd name="T8" fmla="*/ 320 w 377"/>
                <a:gd name="T9" fmla="*/ 16 h 361"/>
                <a:gd name="T10" fmla="*/ 336 w 377"/>
                <a:gd name="T11" fmla="*/ 16 h 361"/>
                <a:gd name="T12" fmla="*/ 280 w 377"/>
                <a:gd name="T13" fmla="*/ 64 h 361"/>
                <a:gd name="T14" fmla="*/ 272 w 377"/>
                <a:gd name="T15" fmla="*/ 88 h 361"/>
                <a:gd name="T16" fmla="*/ 280 w 377"/>
                <a:gd name="T17" fmla="*/ 96 h 361"/>
                <a:gd name="T18" fmla="*/ 288 w 377"/>
                <a:gd name="T19" fmla="*/ 96 h 361"/>
                <a:gd name="T20" fmla="*/ 320 w 377"/>
                <a:gd name="T21" fmla="*/ 128 h 361"/>
                <a:gd name="T22" fmla="*/ 352 w 377"/>
                <a:gd name="T23" fmla="*/ 128 h 361"/>
                <a:gd name="T24" fmla="*/ 352 w 377"/>
                <a:gd name="T25" fmla="*/ 144 h 361"/>
                <a:gd name="T26" fmla="*/ 376 w 377"/>
                <a:gd name="T27" fmla="*/ 152 h 361"/>
                <a:gd name="T28" fmla="*/ 376 w 377"/>
                <a:gd name="T29" fmla="*/ 168 h 361"/>
                <a:gd name="T30" fmla="*/ 352 w 377"/>
                <a:gd name="T31" fmla="*/ 192 h 361"/>
                <a:gd name="T32" fmla="*/ 352 w 377"/>
                <a:gd name="T33" fmla="*/ 176 h 361"/>
                <a:gd name="T34" fmla="*/ 328 w 377"/>
                <a:gd name="T35" fmla="*/ 160 h 361"/>
                <a:gd name="T36" fmla="*/ 312 w 377"/>
                <a:gd name="T37" fmla="*/ 160 h 361"/>
                <a:gd name="T38" fmla="*/ 312 w 377"/>
                <a:gd name="T39" fmla="*/ 208 h 361"/>
                <a:gd name="T40" fmla="*/ 304 w 377"/>
                <a:gd name="T41" fmla="*/ 240 h 361"/>
                <a:gd name="T42" fmla="*/ 280 w 377"/>
                <a:gd name="T43" fmla="*/ 240 h 361"/>
                <a:gd name="T44" fmla="*/ 272 w 377"/>
                <a:gd name="T45" fmla="*/ 248 h 361"/>
                <a:gd name="T46" fmla="*/ 288 w 377"/>
                <a:gd name="T47" fmla="*/ 256 h 361"/>
                <a:gd name="T48" fmla="*/ 296 w 377"/>
                <a:gd name="T49" fmla="*/ 272 h 361"/>
                <a:gd name="T50" fmla="*/ 320 w 377"/>
                <a:gd name="T51" fmla="*/ 288 h 361"/>
                <a:gd name="T52" fmla="*/ 344 w 377"/>
                <a:gd name="T53" fmla="*/ 280 h 361"/>
                <a:gd name="T54" fmla="*/ 352 w 377"/>
                <a:gd name="T55" fmla="*/ 336 h 361"/>
                <a:gd name="T56" fmla="*/ 304 w 377"/>
                <a:gd name="T57" fmla="*/ 360 h 361"/>
                <a:gd name="T58" fmla="*/ 296 w 377"/>
                <a:gd name="T59" fmla="*/ 352 h 361"/>
                <a:gd name="T60" fmla="*/ 288 w 377"/>
                <a:gd name="T61" fmla="*/ 360 h 361"/>
                <a:gd name="T62" fmla="*/ 256 w 377"/>
                <a:gd name="T63" fmla="*/ 360 h 361"/>
                <a:gd name="T64" fmla="*/ 240 w 377"/>
                <a:gd name="T65" fmla="*/ 344 h 361"/>
                <a:gd name="T66" fmla="*/ 232 w 377"/>
                <a:gd name="T67" fmla="*/ 360 h 361"/>
                <a:gd name="T68" fmla="*/ 216 w 377"/>
                <a:gd name="T69" fmla="*/ 344 h 361"/>
                <a:gd name="T70" fmla="*/ 216 w 377"/>
                <a:gd name="T71" fmla="*/ 320 h 361"/>
                <a:gd name="T72" fmla="*/ 192 w 377"/>
                <a:gd name="T73" fmla="*/ 304 h 361"/>
                <a:gd name="T74" fmla="*/ 176 w 377"/>
                <a:gd name="T75" fmla="*/ 312 h 361"/>
                <a:gd name="T76" fmla="*/ 160 w 377"/>
                <a:gd name="T77" fmla="*/ 304 h 361"/>
                <a:gd name="T78" fmla="*/ 88 w 377"/>
                <a:gd name="T79" fmla="*/ 296 h 361"/>
                <a:gd name="T80" fmla="*/ 48 w 377"/>
                <a:gd name="T81" fmla="*/ 232 h 361"/>
                <a:gd name="T82" fmla="*/ 16 w 377"/>
                <a:gd name="T83" fmla="*/ 184 h 361"/>
                <a:gd name="T84" fmla="*/ 0 w 377"/>
                <a:gd name="T85" fmla="*/ 128 h 361"/>
                <a:gd name="T86" fmla="*/ 32 w 377"/>
                <a:gd name="T87" fmla="*/ 128 h 361"/>
                <a:gd name="T88" fmla="*/ 112 w 377"/>
                <a:gd name="T89" fmla="*/ 80 h 361"/>
                <a:gd name="T90" fmla="*/ 136 w 377"/>
                <a:gd name="T91" fmla="*/ 80 h 361"/>
                <a:gd name="T92" fmla="*/ 168 w 377"/>
                <a:gd name="T93" fmla="*/ 80 h 361"/>
                <a:gd name="T94" fmla="*/ 192 w 377"/>
                <a:gd name="T95" fmla="*/ 48 h 361"/>
                <a:gd name="T96" fmla="*/ 200 w 377"/>
                <a:gd name="T97" fmla="*/ 8 h 361"/>
                <a:gd name="T98" fmla="*/ 0 w 377"/>
                <a:gd name="T99" fmla="*/ 0 h 361"/>
                <a:gd name="T100" fmla="*/ 377 w 377"/>
                <a:gd name="T10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T98" t="T99" r="T100" b="T101"/>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5" name="Freeform 31"/>
            <p:cNvSpPr/>
            <p:nvPr/>
          </p:nvSpPr>
          <p:spPr bwMode="auto">
            <a:xfrm>
              <a:off x="4010365" y="3244502"/>
              <a:ext cx="371475" cy="630238"/>
            </a:xfrm>
            <a:custGeom>
              <a:avLst/>
              <a:gdLst>
                <a:gd name="T0" fmla="*/ 208 w 249"/>
                <a:gd name="T1" fmla="*/ 336 h 457"/>
                <a:gd name="T2" fmla="*/ 200 w 249"/>
                <a:gd name="T3" fmla="*/ 376 h 457"/>
                <a:gd name="T4" fmla="*/ 176 w 249"/>
                <a:gd name="T5" fmla="*/ 408 h 457"/>
                <a:gd name="T6" fmla="*/ 136 w 249"/>
                <a:gd name="T7" fmla="*/ 400 h 457"/>
                <a:gd name="T8" fmla="*/ 80 w 249"/>
                <a:gd name="T9" fmla="*/ 432 h 457"/>
                <a:gd name="T10" fmla="*/ 40 w 249"/>
                <a:gd name="T11" fmla="*/ 456 h 457"/>
                <a:gd name="T12" fmla="*/ 8 w 249"/>
                <a:gd name="T13" fmla="*/ 456 h 457"/>
                <a:gd name="T14" fmla="*/ 0 w 249"/>
                <a:gd name="T15" fmla="*/ 448 h 457"/>
                <a:gd name="T16" fmla="*/ 16 w 249"/>
                <a:gd name="T17" fmla="*/ 384 h 457"/>
                <a:gd name="T18" fmla="*/ 24 w 249"/>
                <a:gd name="T19" fmla="*/ 368 h 457"/>
                <a:gd name="T20" fmla="*/ 8 w 249"/>
                <a:gd name="T21" fmla="*/ 328 h 457"/>
                <a:gd name="T22" fmla="*/ 16 w 249"/>
                <a:gd name="T23" fmla="*/ 264 h 457"/>
                <a:gd name="T24" fmla="*/ 24 w 249"/>
                <a:gd name="T25" fmla="*/ 224 h 457"/>
                <a:gd name="T26" fmla="*/ 32 w 249"/>
                <a:gd name="T27" fmla="*/ 208 h 457"/>
                <a:gd name="T28" fmla="*/ 16 w 249"/>
                <a:gd name="T29" fmla="*/ 192 h 457"/>
                <a:gd name="T30" fmla="*/ 32 w 249"/>
                <a:gd name="T31" fmla="*/ 160 h 457"/>
                <a:gd name="T32" fmla="*/ 56 w 249"/>
                <a:gd name="T33" fmla="*/ 112 h 457"/>
                <a:gd name="T34" fmla="*/ 56 w 249"/>
                <a:gd name="T35" fmla="*/ 80 h 457"/>
                <a:gd name="T36" fmla="*/ 72 w 249"/>
                <a:gd name="T37" fmla="*/ 80 h 457"/>
                <a:gd name="T38" fmla="*/ 120 w 249"/>
                <a:gd name="T39" fmla="*/ 24 h 457"/>
                <a:gd name="T40" fmla="*/ 144 w 249"/>
                <a:gd name="T41" fmla="*/ 16 h 457"/>
                <a:gd name="T42" fmla="*/ 168 w 249"/>
                <a:gd name="T43" fmla="*/ 0 h 457"/>
                <a:gd name="T44" fmla="*/ 176 w 249"/>
                <a:gd name="T45" fmla="*/ 8 h 457"/>
                <a:gd name="T46" fmla="*/ 216 w 249"/>
                <a:gd name="T47" fmla="*/ 0 h 457"/>
                <a:gd name="T48" fmla="*/ 240 w 249"/>
                <a:gd name="T49" fmla="*/ 24 h 457"/>
                <a:gd name="T50" fmla="*/ 216 w 249"/>
                <a:gd name="T51" fmla="*/ 32 h 457"/>
                <a:gd name="T52" fmla="*/ 208 w 249"/>
                <a:gd name="T53" fmla="*/ 48 h 457"/>
                <a:gd name="T54" fmla="*/ 240 w 249"/>
                <a:gd name="T55" fmla="*/ 48 h 457"/>
                <a:gd name="T56" fmla="*/ 248 w 249"/>
                <a:gd name="T57" fmla="*/ 88 h 457"/>
                <a:gd name="T58" fmla="*/ 232 w 249"/>
                <a:gd name="T59" fmla="*/ 120 h 457"/>
                <a:gd name="T60" fmla="*/ 216 w 249"/>
                <a:gd name="T61" fmla="*/ 104 h 457"/>
                <a:gd name="T62" fmla="*/ 192 w 249"/>
                <a:gd name="T63" fmla="*/ 120 h 457"/>
                <a:gd name="T64" fmla="*/ 200 w 249"/>
                <a:gd name="T65" fmla="*/ 136 h 457"/>
                <a:gd name="T66" fmla="*/ 184 w 249"/>
                <a:gd name="T67" fmla="*/ 160 h 457"/>
                <a:gd name="T68" fmla="*/ 224 w 249"/>
                <a:gd name="T69" fmla="*/ 216 h 457"/>
                <a:gd name="T70" fmla="*/ 192 w 249"/>
                <a:gd name="T71" fmla="*/ 304 h 457"/>
                <a:gd name="T72" fmla="*/ 208 w 249"/>
                <a:gd name="T73" fmla="*/ 336 h 457"/>
                <a:gd name="T74" fmla="*/ 0 w 249"/>
                <a:gd name="T75" fmla="*/ 0 h 457"/>
                <a:gd name="T76" fmla="*/ 249 w 249"/>
                <a:gd name="T77" fmla="*/ 457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T74" t="T75" r="T76" b="T77"/>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solidFill>
              <a:srgbClr val="2C53B6"/>
            </a:solidFill>
            <a:ln w="3175" cap="rnd" cmpd="sng">
              <a:solidFill>
                <a:schemeClr val="bg1"/>
              </a:solidFill>
              <a:miter lim="800000"/>
            </a:ln>
          </p:spPr>
          <p:txBody>
            <a:bodyPr/>
            <a:lstStyle/>
            <a:p>
              <a:endParaRPr lang="zh-CN" altLang="en-US" sz="975"/>
            </a:p>
          </p:txBody>
        </p:sp>
        <p:sp>
          <p:nvSpPr>
            <p:cNvPr id="46" name="Freeform 32"/>
            <p:cNvSpPr/>
            <p:nvPr/>
          </p:nvSpPr>
          <p:spPr bwMode="auto">
            <a:xfrm>
              <a:off x="3616665" y="3354040"/>
              <a:ext cx="477838" cy="836612"/>
            </a:xfrm>
            <a:custGeom>
              <a:avLst/>
              <a:gdLst>
                <a:gd name="T0" fmla="*/ 320 w 321"/>
                <a:gd name="T1" fmla="*/ 480 h 609"/>
                <a:gd name="T2" fmla="*/ 296 w 321"/>
                <a:gd name="T3" fmla="*/ 496 h 609"/>
                <a:gd name="T4" fmla="*/ 280 w 321"/>
                <a:gd name="T5" fmla="*/ 488 h 609"/>
                <a:gd name="T6" fmla="*/ 224 w 321"/>
                <a:gd name="T7" fmla="*/ 488 h 609"/>
                <a:gd name="T8" fmla="*/ 240 w 321"/>
                <a:gd name="T9" fmla="*/ 520 h 609"/>
                <a:gd name="T10" fmla="*/ 224 w 321"/>
                <a:gd name="T11" fmla="*/ 560 h 609"/>
                <a:gd name="T12" fmla="*/ 232 w 321"/>
                <a:gd name="T13" fmla="*/ 608 h 609"/>
                <a:gd name="T14" fmla="*/ 200 w 321"/>
                <a:gd name="T15" fmla="*/ 600 h 609"/>
                <a:gd name="T16" fmla="*/ 152 w 321"/>
                <a:gd name="T17" fmla="*/ 568 h 609"/>
                <a:gd name="T18" fmla="*/ 96 w 321"/>
                <a:gd name="T19" fmla="*/ 552 h 609"/>
                <a:gd name="T20" fmla="*/ 56 w 321"/>
                <a:gd name="T21" fmla="*/ 520 h 609"/>
                <a:gd name="T22" fmla="*/ 16 w 321"/>
                <a:gd name="T23" fmla="*/ 520 h 609"/>
                <a:gd name="T24" fmla="*/ 16 w 321"/>
                <a:gd name="T25" fmla="*/ 512 h 609"/>
                <a:gd name="T26" fmla="*/ 0 w 321"/>
                <a:gd name="T27" fmla="*/ 504 h 609"/>
                <a:gd name="T28" fmla="*/ 8 w 321"/>
                <a:gd name="T29" fmla="*/ 496 h 609"/>
                <a:gd name="T30" fmla="*/ 8 w 321"/>
                <a:gd name="T31" fmla="*/ 472 h 609"/>
                <a:gd name="T32" fmla="*/ 0 w 321"/>
                <a:gd name="T33" fmla="*/ 464 h 609"/>
                <a:gd name="T34" fmla="*/ 16 w 321"/>
                <a:gd name="T35" fmla="*/ 456 h 609"/>
                <a:gd name="T36" fmla="*/ 48 w 321"/>
                <a:gd name="T37" fmla="*/ 456 h 609"/>
                <a:gd name="T38" fmla="*/ 48 w 321"/>
                <a:gd name="T39" fmla="*/ 344 h 609"/>
                <a:gd name="T40" fmla="*/ 88 w 321"/>
                <a:gd name="T41" fmla="*/ 344 h 609"/>
                <a:gd name="T42" fmla="*/ 88 w 321"/>
                <a:gd name="T43" fmla="*/ 360 h 609"/>
                <a:gd name="T44" fmla="*/ 112 w 321"/>
                <a:gd name="T45" fmla="*/ 360 h 609"/>
                <a:gd name="T46" fmla="*/ 112 w 321"/>
                <a:gd name="T47" fmla="*/ 328 h 609"/>
                <a:gd name="T48" fmla="*/ 160 w 321"/>
                <a:gd name="T49" fmla="*/ 328 h 609"/>
                <a:gd name="T50" fmla="*/ 168 w 321"/>
                <a:gd name="T51" fmla="*/ 280 h 609"/>
                <a:gd name="T52" fmla="*/ 168 w 321"/>
                <a:gd name="T53" fmla="*/ 248 h 609"/>
                <a:gd name="T54" fmla="*/ 144 w 321"/>
                <a:gd name="T55" fmla="*/ 232 h 609"/>
                <a:gd name="T56" fmla="*/ 112 w 321"/>
                <a:gd name="T57" fmla="*/ 208 h 609"/>
                <a:gd name="T58" fmla="*/ 96 w 321"/>
                <a:gd name="T59" fmla="*/ 184 h 609"/>
                <a:gd name="T60" fmla="*/ 104 w 321"/>
                <a:gd name="T61" fmla="*/ 144 h 609"/>
                <a:gd name="T62" fmla="*/ 120 w 321"/>
                <a:gd name="T63" fmla="*/ 128 h 609"/>
                <a:gd name="T64" fmla="*/ 144 w 321"/>
                <a:gd name="T65" fmla="*/ 144 h 609"/>
                <a:gd name="T66" fmla="*/ 176 w 321"/>
                <a:gd name="T67" fmla="*/ 144 h 609"/>
                <a:gd name="T68" fmla="*/ 184 w 321"/>
                <a:gd name="T69" fmla="*/ 120 h 609"/>
                <a:gd name="T70" fmla="*/ 200 w 321"/>
                <a:gd name="T71" fmla="*/ 120 h 609"/>
                <a:gd name="T72" fmla="*/ 192 w 321"/>
                <a:gd name="T73" fmla="*/ 88 h 609"/>
                <a:gd name="T74" fmla="*/ 248 w 321"/>
                <a:gd name="T75" fmla="*/ 32 h 609"/>
                <a:gd name="T76" fmla="*/ 248 w 321"/>
                <a:gd name="T77" fmla="*/ 16 h 609"/>
                <a:gd name="T78" fmla="*/ 280 w 321"/>
                <a:gd name="T79" fmla="*/ 16 h 609"/>
                <a:gd name="T80" fmla="*/ 288 w 321"/>
                <a:gd name="T81" fmla="*/ 24 h 609"/>
                <a:gd name="T82" fmla="*/ 296 w 321"/>
                <a:gd name="T83" fmla="*/ 8 h 609"/>
                <a:gd name="T84" fmla="*/ 304 w 321"/>
                <a:gd name="T85" fmla="*/ 0 h 609"/>
                <a:gd name="T86" fmla="*/ 320 w 321"/>
                <a:gd name="T87" fmla="*/ 24 h 609"/>
                <a:gd name="T88" fmla="*/ 320 w 321"/>
                <a:gd name="T89" fmla="*/ 32 h 609"/>
                <a:gd name="T90" fmla="*/ 280 w 321"/>
                <a:gd name="T91" fmla="*/ 112 h 609"/>
                <a:gd name="T92" fmla="*/ 296 w 321"/>
                <a:gd name="T93" fmla="*/ 128 h 609"/>
                <a:gd name="T94" fmla="*/ 280 w 321"/>
                <a:gd name="T95" fmla="*/ 184 h 609"/>
                <a:gd name="T96" fmla="*/ 272 w 321"/>
                <a:gd name="T97" fmla="*/ 248 h 609"/>
                <a:gd name="T98" fmla="*/ 288 w 321"/>
                <a:gd name="T99" fmla="*/ 288 h 609"/>
                <a:gd name="T100" fmla="*/ 264 w 321"/>
                <a:gd name="T101" fmla="*/ 360 h 609"/>
                <a:gd name="T102" fmla="*/ 272 w 321"/>
                <a:gd name="T103" fmla="*/ 376 h 609"/>
                <a:gd name="T104" fmla="*/ 288 w 321"/>
                <a:gd name="T105" fmla="*/ 432 h 609"/>
                <a:gd name="T106" fmla="*/ 320 w 321"/>
                <a:gd name="T107" fmla="*/ 480 h 609"/>
                <a:gd name="T108" fmla="*/ 0 w 321"/>
                <a:gd name="T109" fmla="*/ 0 h 609"/>
                <a:gd name="T110" fmla="*/ 321 w 321"/>
                <a:gd name="T111"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T108" t="T109" r="T110" b="T111"/>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7" name="Freeform 33"/>
            <p:cNvSpPr/>
            <p:nvPr/>
          </p:nvSpPr>
          <p:spPr bwMode="auto">
            <a:xfrm>
              <a:off x="3526178" y="3365152"/>
              <a:ext cx="261937" cy="431800"/>
            </a:xfrm>
            <a:custGeom>
              <a:avLst/>
              <a:gdLst>
                <a:gd name="T0" fmla="*/ 176 w 177"/>
                <a:gd name="T1" fmla="*/ 120 h 313"/>
                <a:gd name="T2" fmla="*/ 160 w 177"/>
                <a:gd name="T3" fmla="*/ 104 h 313"/>
                <a:gd name="T4" fmla="*/ 120 w 177"/>
                <a:gd name="T5" fmla="*/ 88 h 313"/>
                <a:gd name="T6" fmla="*/ 136 w 177"/>
                <a:gd name="T7" fmla="*/ 32 h 313"/>
                <a:gd name="T8" fmla="*/ 128 w 177"/>
                <a:gd name="T9" fmla="*/ 0 h 313"/>
                <a:gd name="T10" fmla="*/ 72 w 177"/>
                <a:gd name="T11" fmla="*/ 56 h 313"/>
                <a:gd name="T12" fmla="*/ 64 w 177"/>
                <a:gd name="T13" fmla="*/ 112 h 313"/>
                <a:gd name="T14" fmla="*/ 40 w 177"/>
                <a:gd name="T15" fmla="*/ 120 h 313"/>
                <a:gd name="T16" fmla="*/ 8 w 177"/>
                <a:gd name="T17" fmla="*/ 144 h 313"/>
                <a:gd name="T18" fmla="*/ 0 w 177"/>
                <a:gd name="T19" fmla="*/ 168 h 313"/>
                <a:gd name="T20" fmla="*/ 40 w 177"/>
                <a:gd name="T21" fmla="*/ 192 h 313"/>
                <a:gd name="T22" fmla="*/ 40 w 177"/>
                <a:gd name="T23" fmla="*/ 224 h 313"/>
                <a:gd name="T24" fmla="*/ 48 w 177"/>
                <a:gd name="T25" fmla="*/ 240 h 313"/>
                <a:gd name="T26" fmla="*/ 40 w 177"/>
                <a:gd name="T27" fmla="*/ 264 h 313"/>
                <a:gd name="T28" fmla="*/ 48 w 177"/>
                <a:gd name="T29" fmla="*/ 280 h 313"/>
                <a:gd name="T30" fmla="*/ 96 w 177"/>
                <a:gd name="T31" fmla="*/ 312 h 313"/>
                <a:gd name="T32" fmla="*/ 112 w 177"/>
                <a:gd name="T33" fmla="*/ 312 h 313"/>
                <a:gd name="T34" fmla="*/ 112 w 177"/>
                <a:gd name="T35" fmla="*/ 296 h 313"/>
                <a:gd name="T36" fmla="*/ 128 w 177"/>
                <a:gd name="T37" fmla="*/ 272 h 313"/>
                <a:gd name="T38" fmla="*/ 120 w 177"/>
                <a:gd name="T39" fmla="*/ 240 h 313"/>
                <a:gd name="T40" fmla="*/ 112 w 177"/>
                <a:gd name="T41" fmla="*/ 240 h 313"/>
                <a:gd name="T42" fmla="*/ 104 w 177"/>
                <a:gd name="T43" fmla="*/ 208 h 313"/>
                <a:gd name="T44" fmla="*/ 120 w 177"/>
                <a:gd name="T45" fmla="*/ 208 h 313"/>
                <a:gd name="T46" fmla="*/ 120 w 177"/>
                <a:gd name="T47" fmla="*/ 176 h 313"/>
                <a:gd name="T48" fmla="*/ 136 w 177"/>
                <a:gd name="T49" fmla="*/ 176 h 313"/>
                <a:gd name="T50" fmla="*/ 152 w 177"/>
                <a:gd name="T51" fmla="*/ 184 h 313"/>
                <a:gd name="T52" fmla="*/ 160 w 177"/>
                <a:gd name="T53" fmla="*/ 136 h 313"/>
                <a:gd name="T54" fmla="*/ 176 w 177"/>
                <a:gd name="T55" fmla="*/ 120 h 313"/>
                <a:gd name="T56" fmla="*/ 0 w 177"/>
                <a:gd name="T57" fmla="*/ 0 h 313"/>
                <a:gd name="T58" fmla="*/ 177 w 177"/>
                <a:gd name="T5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T56" t="T57" r="T58" b="T59"/>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8" name="Freeform 34"/>
            <p:cNvSpPr/>
            <p:nvPr/>
          </p:nvSpPr>
          <p:spPr bwMode="auto">
            <a:xfrm>
              <a:off x="2589553" y="2936527"/>
              <a:ext cx="1277937" cy="1155700"/>
            </a:xfrm>
            <a:custGeom>
              <a:avLst/>
              <a:gdLst>
                <a:gd name="T0" fmla="*/ 632 w 857"/>
                <a:gd name="T1" fmla="*/ 480 h 841"/>
                <a:gd name="T2" fmla="*/ 672 w 857"/>
                <a:gd name="T3" fmla="*/ 536 h 841"/>
                <a:gd name="T4" fmla="*/ 672 w 857"/>
                <a:gd name="T5" fmla="*/ 568 h 841"/>
                <a:gd name="T6" fmla="*/ 736 w 857"/>
                <a:gd name="T7" fmla="*/ 624 h 841"/>
                <a:gd name="T8" fmla="*/ 744 w 857"/>
                <a:gd name="T9" fmla="*/ 600 h 841"/>
                <a:gd name="T10" fmla="*/ 752 w 857"/>
                <a:gd name="T11" fmla="*/ 552 h 841"/>
                <a:gd name="T12" fmla="*/ 736 w 857"/>
                <a:gd name="T13" fmla="*/ 520 h 841"/>
                <a:gd name="T14" fmla="*/ 752 w 857"/>
                <a:gd name="T15" fmla="*/ 488 h 841"/>
                <a:gd name="T16" fmla="*/ 800 w 857"/>
                <a:gd name="T17" fmla="*/ 512 h 841"/>
                <a:gd name="T18" fmla="*/ 856 w 857"/>
                <a:gd name="T19" fmla="*/ 552 h 841"/>
                <a:gd name="T20" fmla="*/ 800 w 857"/>
                <a:gd name="T21" fmla="*/ 632 h 841"/>
                <a:gd name="T22" fmla="*/ 776 w 857"/>
                <a:gd name="T23" fmla="*/ 664 h 841"/>
                <a:gd name="T24" fmla="*/ 736 w 857"/>
                <a:gd name="T25" fmla="*/ 648 h 841"/>
                <a:gd name="T26" fmla="*/ 704 w 857"/>
                <a:gd name="T27" fmla="*/ 752 h 841"/>
                <a:gd name="T28" fmla="*/ 696 w 857"/>
                <a:gd name="T29" fmla="*/ 776 h 841"/>
                <a:gd name="T30" fmla="*/ 688 w 857"/>
                <a:gd name="T31" fmla="*/ 808 h 841"/>
                <a:gd name="T32" fmla="*/ 632 w 857"/>
                <a:gd name="T33" fmla="*/ 840 h 841"/>
                <a:gd name="T34" fmla="*/ 592 w 857"/>
                <a:gd name="T35" fmla="*/ 760 h 841"/>
                <a:gd name="T36" fmla="*/ 576 w 857"/>
                <a:gd name="T37" fmla="*/ 752 h 841"/>
                <a:gd name="T38" fmla="*/ 528 w 857"/>
                <a:gd name="T39" fmla="*/ 696 h 841"/>
                <a:gd name="T40" fmla="*/ 496 w 857"/>
                <a:gd name="T41" fmla="*/ 712 h 841"/>
                <a:gd name="T42" fmla="*/ 488 w 857"/>
                <a:gd name="T43" fmla="*/ 728 h 841"/>
                <a:gd name="T44" fmla="*/ 480 w 857"/>
                <a:gd name="T45" fmla="*/ 776 h 841"/>
                <a:gd name="T46" fmla="*/ 464 w 857"/>
                <a:gd name="T47" fmla="*/ 744 h 841"/>
                <a:gd name="T48" fmla="*/ 416 w 857"/>
                <a:gd name="T49" fmla="*/ 728 h 841"/>
                <a:gd name="T50" fmla="*/ 408 w 857"/>
                <a:gd name="T51" fmla="*/ 688 h 841"/>
                <a:gd name="T52" fmla="*/ 456 w 857"/>
                <a:gd name="T53" fmla="*/ 696 h 841"/>
                <a:gd name="T54" fmla="*/ 488 w 857"/>
                <a:gd name="T55" fmla="*/ 672 h 841"/>
                <a:gd name="T56" fmla="*/ 464 w 857"/>
                <a:gd name="T57" fmla="*/ 640 h 841"/>
                <a:gd name="T58" fmla="*/ 504 w 857"/>
                <a:gd name="T59" fmla="*/ 600 h 841"/>
                <a:gd name="T60" fmla="*/ 536 w 857"/>
                <a:gd name="T61" fmla="*/ 568 h 841"/>
                <a:gd name="T62" fmla="*/ 480 w 857"/>
                <a:gd name="T63" fmla="*/ 408 h 841"/>
                <a:gd name="T64" fmla="*/ 408 w 857"/>
                <a:gd name="T65" fmla="*/ 360 h 841"/>
                <a:gd name="T66" fmla="*/ 344 w 857"/>
                <a:gd name="T67" fmla="*/ 336 h 841"/>
                <a:gd name="T68" fmla="*/ 280 w 857"/>
                <a:gd name="T69" fmla="*/ 312 h 841"/>
                <a:gd name="T70" fmla="*/ 208 w 857"/>
                <a:gd name="T71" fmla="*/ 336 h 841"/>
                <a:gd name="T72" fmla="*/ 48 w 857"/>
                <a:gd name="T73" fmla="*/ 240 h 841"/>
                <a:gd name="T74" fmla="*/ 8 w 857"/>
                <a:gd name="T75" fmla="*/ 160 h 841"/>
                <a:gd name="T76" fmla="*/ 48 w 857"/>
                <a:gd name="T77" fmla="*/ 152 h 841"/>
                <a:gd name="T78" fmla="*/ 112 w 857"/>
                <a:gd name="T79" fmla="*/ 96 h 841"/>
                <a:gd name="T80" fmla="*/ 136 w 857"/>
                <a:gd name="T81" fmla="*/ 64 h 841"/>
                <a:gd name="T82" fmla="*/ 216 w 857"/>
                <a:gd name="T83" fmla="*/ 32 h 841"/>
                <a:gd name="T84" fmla="*/ 232 w 857"/>
                <a:gd name="T85" fmla="*/ 0 h 841"/>
                <a:gd name="T86" fmla="*/ 288 w 857"/>
                <a:gd name="T87" fmla="*/ 72 h 841"/>
                <a:gd name="T88" fmla="*/ 296 w 857"/>
                <a:gd name="T89" fmla="*/ 128 h 841"/>
                <a:gd name="T90" fmla="*/ 312 w 857"/>
                <a:gd name="T91" fmla="*/ 176 h 841"/>
                <a:gd name="T92" fmla="*/ 336 w 857"/>
                <a:gd name="T93" fmla="*/ 192 h 841"/>
                <a:gd name="T94" fmla="*/ 408 w 857"/>
                <a:gd name="T95" fmla="*/ 176 h 841"/>
                <a:gd name="T96" fmla="*/ 408 w 857"/>
                <a:gd name="T97" fmla="*/ 216 h 841"/>
                <a:gd name="T98" fmla="*/ 384 w 857"/>
                <a:gd name="T99" fmla="*/ 256 h 841"/>
                <a:gd name="T100" fmla="*/ 432 w 857"/>
                <a:gd name="T101" fmla="*/ 328 h 841"/>
                <a:gd name="T102" fmla="*/ 496 w 857"/>
                <a:gd name="T103" fmla="*/ 344 h 841"/>
                <a:gd name="T104" fmla="*/ 528 w 857"/>
                <a:gd name="T105" fmla="*/ 320 h 841"/>
                <a:gd name="T106" fmla="*/ 584 w 857"/>
                <a:gd name="T107" fmla="*/ 320 h 841"/>
                <a:gd name="T108" fmla="*/ 624 w 857"/>
                <a:gd name="T109" fmla="*/ 336 h 841"/>
                <a:gd name="T110" fmla="*/ 576 w 857"/>
                <a:gd name="T111" fmla="*/ 392 h 841"/>
                <a:gd name="T112" fmla="*/ 600 w 857"/>
                <a:gd name="T113" fmla="*/ 456 h 841"/>
                <a:gd name="T114" fmla="*/ 0 w 857"/>
                <a:gd name="T115" fmla="*/ 0 h 841"/>
                <a:gd name="T116" fmla="*/ 857 w 857"/>
                <a:gd name="T117" fmla="*/ 8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T114" t="T115" r="T116" b="T117"/>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9" name="Freeform 35"/>
            <p:cNvSpPr/>
            <p:nvPr/>
          </p:nvSpPr>
          <p:spPr bwMode="auto">
            <a:xfrm>
              <a:off x="2994365" y="1869727"/>
              <a:ext cx="2124075" cy="1706563"/>
            </a:xfrm>
            <a:custGeom>
              <a:avLst/>
              <a:gdLst>
                <a:gd name="T0" fmla="*/ 16 w 1425"/>
                <a:gd name="T1" fmla="*/ 896 h 1241"/>
                <a:gd name="T2" fmla="*/ 64 w 1425"/>
                <a:gd name="T3" fmla="*/ 968 h 1241"/>
                <a:gd name="T4" fmla="*/ 136 w 1425"/>
                <a:gd name="T5" fmla="*/ 976 h 1241"/>
                <a:gd name="T6" fmla="*/ 112 w 1425"/>
                <a:gd name="T7" fmla="*/ 1032 h 1241"/>
                <a:gd name="T8" fmla="*/ 216 w 1425"/>
                <a:gd name="T9" fmla="*/ 1128 h 1241"/>
                <a:gd name="T10" fmla="*/ 256 w 1425"/>
                <a:gd name="T11" fmla="*/ 1096 h 1241"/>
                <a:gd name="T12" fmla="*/ 352 w 1425"/>
                <a:gd name="T13" fmla="*/ 1104 h 1241"/>
                <a:gd name="T14" fmla="*/ 328 w 1425"/>
                <a:gd name="T15" fmla="*/ 1240 h 1241"/>
                <a:gd name="T16" fmla="*/ 424 w 1425"/>
                <a:gd name="T17" fmla="*/ 1200 h 1241"/>
                <a:gd name="T18" fmla="*/ 496 w 1425"/>
                <a:gd name="T19" fmla="*/ 1112 h 1241"/>
                <a:gd name="T20" fmla="*/ 560 w 1425"/>
                <a:gd name="T21" fmla="*/ 1224 h 1241"/>
                <a:gd name="T22" fmla="*/ 600 w 1425"/>
                <a:gd name="T23" fmla="*/ 1200 h 1241"/>
                <a:gd name="T24" fmla="*/ 664 w 1425"/>
                <a:gd name="T25" fmla="*/ 1112 h 1241"/>
                <a:gd name="T26" fmla="*/ 704 w 1425"/>
                <a:gd name="T27" fmla="*/ 1096 h 1241"/>
                <a:gd name="T28" fmla="*/ 736 w 1425"/>
                <a:gd name="T29" fmla="*/ 1096 h 1241"/>
                <a:gd name="T30" fmla="*/ 800 w 1425"/>
                <a:gd name="T31" fmla="*/ 1024 h 1241"/>
                <a:gd name="T32" fmla="*/ 864 w 1425"/>
                <a:gd name="T33" fmla="*/ 1008 h 1241"/>
                <a:gd name="T34" fmla="*/ 896 w 1425"/>
                <a:gd name="T35" fmla="*/ 920 h 1241"/>
                <a:gd name="T36" fmla="*/ 944 w 1425"/>
                <a:gd name="T37" fmla="*/ 912 h 1241"/>
                <a:gd name="T38" fmla="*/ 1008 w 1425"/>
                <a:gd name="T39" fmla="*/ 872 h 1241"/>
                <a:gd name="T40" fmla="*/ 1088 w 1425"/>
                <a:gd name="T41" fmla="*/ 824 h 1241"/>
                <a:gd name="T42" fmla="*/ 1128 w 1425"/>
                <a:gd name="T43" fmla="*/ 920 h 1241"/>
                <a:gd name="T44" fmla="*/ 1176 w 1425"/>
                <a:gd name="T45" fmla="*/ 888 h 1241"/>
                <a:gd name="T46" fmla="*/ 1176 w 1425"/>
                <a:gd name="T47" fmla="*/ 840 h 1241"/>
                <a:gd name="T48" fmla="*/ 1352 w 1425"/>
                <a:gd name="T49" fmla="*/ 784 h 1241"/>
                <a:gd name="T50" fmla="*/ 1376 w 1425"/>
                <a:gd name="T51" fmla="*/ 728 h 1241"/>
                <a:gd name="T52" fmla="*/ 1312 w 1425"/>
                <a:gd name="T53" fmla="*/ 672 h 1241"/>
                <a:gd name="T54" fmla="*/ 1264 w 1425"/>
                <a:gd name="T55" fmla="*/ 560 h 1241"/>
                <a:gd name="T56" fmla="*/ 1336 w 1425"/>
                <a:gd name="T57" fmla="*/ 560 h 1241"/>
                <a:gd name="T58" fmla="*/ 1352 w 1425"/>
                <a:gd name="T59" fmla="*/ 472 h 1241"/>
                <a:gd name="T60" fmla="*/ 1296 w 1425"/>
                <a:gd name="T61" fmla="*/ 432 h 1241"/>
                <a:gd name="T62" fmla="*/ 1392 w 1425"/>
                <a:gd name="T63" fmla="*/ 296 h 1241"/>
                <a:gd name="T64" fmla="*/ 1424 w 1425"/>
                <a:gd name="T65" fmla="*/ 128 h 1241"/>
                <a:gd name="T66" fmla="*/ 1344 w 1425"/>
                <a:gd name="T67" fmla="*/ 128 h 1241"/>
                <a:gd name="T68" fmla="*/ 1264 w 1425"/>
                <a:gd name="T69" fmla="*/ 72 h 1241"/>
                <a:gd name="T70" fmla="*/ 1192 w 1425"/>
                <a:gd name="T71" fmla="*/ 64 h 1241"/>
                <a:gd name="T72" fmla="*/ 1168 w 1425"/>
                <a:gd name="T73" fmla="*/ 0 h 1241"/>
                <a:gd name="T74" fmla="*/ 1160 w 1425"/>
                <a:gd name="T75" fmla="*/ 64 h 1241"/>
                <a:gd name="T76" fmla="*/ 1128 w 1425"/>
                <a:gd name="T77" fmla="*/ 168 h 1241"/>
                <a:gd name="T78" fmla="*/ 1120 w 1425"/>
                <a:gd name="T79" fmla="*/ 240 h 1241"/>
                <a:gd name="T80" fmla="*/ 992 w 1425"/>
                <a:gd name="T81" fmla="*/ 280 h 1241"/>
                <a:gd name="T82" fmla="*/ 992 w 1425"/>
                <a:gd name="T83" fmla="*/ 432 h 1241"/>
                <a:gd name="T84" fmla="*/ 1056 w 1425"/>
                <a:gd name="T85" fmla="*/ 416 h 1241"/>
                <a:gd name="T86" fmla="*/ 1136 w 1425"/>
                <a:gd name="T87" fmla="*/ 448 h 1241"/>
                <a:gd name="T88" fmla="*/ 1136 w 1425"/>
                <a:gd name="T89" fmla="*/ 504 h 1241"/>
                <a:gd name="T90" fmla="*/ 1040 w 1425"/>
                <a:gd name="T91" fmla="*/ 536 h 1241"/>
                <a:gd name="T92" fmla="*/ 992 w 1425"/>
                <a:gd name="T93" fmla="*/ 592 h 1241"/>
                <a:gd name="T94" fmla="*/ 864 w 1425"/>
                <a:gd name="T95" fmla="*/ 664 h 1241"/>
                <a:gd name="T96" fmla="*/ 760 w 1425"/>
                <a:gd name="T97" fmla="*/ 648 h 1241"/>
                <a:gd name="T98" fmla="*/ 768 w 1425"/>
                <a:gd name="T99" fmla="*/ 752 h 1241"/>
                <a:gd name="T100" fmla="*/ 640 w 1425"/>
                <a:gd name="T101" fmla="*/ 848 h 1241"/>
                <a:gd name="T102" fmla="*/ 456 w 1425"/>
                <a:gd name="T103" fmla="*/ 880 h 1241"/>
                <a:gd name="T104" fmla="*/ 352 w 1425"/>
                <a:gd name="T105" fmla="*/ 888 h 1241"/>
                <a:gd name="T106" fmla="*/ 248 w 1425"/>
                <a:gd name="T107" fmla="*/ 864 h 1241"/>
                <a:gd name="T108" fmla="*/ 96 w 1425"/>
                <a:gd name="T109" fmla="*/ 816 h 1241"/>
                <a:gd name="T110" fmla="*/ 0 w 1425"/>
                <a:gd name="T111" fmla="*/ 0 h 1241"/>
                <a:gd name="T112" fmla="*/ 1425 w 1425"/>
                <a:gd name="T113"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50" name="Freeform 36"/>
            <p:cNvSpPr/>
            <p:nvPr/>
          </p:nvSpPr>
          <p:spPr bwMode="auto">
            <a:xfrm>
              <a:off x="1040153" y="2157065"/>
              <a:ext cx="1897062" cy="1419225"/>
            </a:xfrm>
            <a:custGeom>
              <a:avLst/>
              <a:gdLst>
                <a:gd name="T0" fmla="*/ 1256 w 1273"/>
                <a:gd name="T1" fmla="*/ 576 h 1033"/>
                <a:gd name="T2" fmla="*/ 1240 w 1273"/>
                <a:gd name="T3" fmla="*/ 632 h 1033"/>
                <a:gd name="T4" fmla="*/ 1176 w 1273"/>
                <a:gd name="T5" fmla="*/ 632 h 1033"/>
                <a:gd name="T6" fmla="*/ 1152 w 1273"/>
                <a:gd name="T7" fmla="*/ 664 h 1033"/>
                <a:gd name="T8" fmla="*/ 1080 w 1273"/>
                <a:gd name="T9" fmla="*/ 720 h 1033"/>
                <a:gd name="T10" fmla="*/ 1048 w 1273"/>
                <a:gd name="T11" fmla="*/ 728 h 1033"/>
                <a:gd name="T12" fmla="*/ 936 w 1273"/>
                <a:gd name="T13" fmla="*/ 824 h 1033"/>
                <a:gd name="T14" fmla="*/ 880 w 1273"/>
                <a:gd name="T15" fmla="*/ 880 h 1033"/>
                <a:gd name="T16" fmla="*/ 920 w 1273"/>
                <a:gd name="T17" fmla="*/ 944 h 1033"/>
                <a:gd name="T18" fmla="*/ 888 w 1273"/>
                <a:gd name="T19" fmla="*/ 992 h 1033"/>
                <a:gd name="T20" fmla="*/ 896 w 1273"/>
                <a:gd name="T21" fmla="*/ 1032 h 1033"/>
                <a:gd name="T22" fmla="*/ 840 w 1273"/>
                <a:gd name="T23" fmla="*/ 1016 h 1033"/>
                <a:gd name="T24" fmla="*/ 808 w 1273"/>
                <a:gd name="T25" fmla="*/ 1000 h 1033"/>
                <a:gd name="T26" fmla="*/ 736 w 1273"/>
                <a:gd name="T27" fmla="*/ 960 h 1033"/>
                <a:gd name="T28" fmla="*/ 600 w 1273"/>
                <a:gd name="T29" fmla="*/ 984 h 1033"/>
                <a:gd name="T30" fmla="*/ 512 w 1273"/>
                <a:gd name="T31" fmla="*/ 992 h 1033"/>
                <a:gd name="T32" fmla="*/ 432 w 1273"/>
                <a:gd name="T33" fmla="*/ 952 h 1033"/>
                <a:gd name="T34" fmla="*/ 368 w 1273"/>
                <a:gd name="T35" fmla="*/ 960 h 1033"/>
                <a:gd name="T36" fmla="*/ 272 w 1273"/>
                <a:gd name="T37" fmla="*/ 928 h 1033"/>
                <a:gd name="T38" fmla="*/ 216 w 1273"/>
                <a:gd name="T39" fmla="*/ 984 h 1033"/>
                <a:gd name="T40" fmla="*/ 152 w 1273"/>
                <a:gd name="T41" fmla="*/ 944 h 1033"/>
                <a:gd name="T42" fmla="*/ 104 w 1273"/>
                <a:gd name="T43" fmla="*/ 864 h 1033"/>
                <a:gd name="T44" fmla="*/ 56 w 1273"/>
                <a:gd name="T45" fmla="*/ 800 h 1033"/>
                <a:gd name="T46" fmla="*/ 64 w 1273"/>
                <a:gd name="T47" fmla="*/ 776 h 1033"/>
                <a:gd name="T48" fmla="*/ 40 w 1273"/>
                <a:gd name="T49" fmla="*/ 712 h 1033"/>
                <a:gd name="T50" fmla="*/ 0 w 1273"/>
                <a:gd name="T51" fmla="*/ 688 h 1033"/>
                <a:gd name="T52" fmla="*/ 32 w 1273"/>
                <a:gd name="T53" fmla="*/ 688 h 1033"/>
                <a:gd name="T54" fmla="*/ 32 w 1273"/>
                <a:gd name="T55" fmla="*/ 616 h 1033"/>
                <a:gd name="T56" fmla="*/ 24 w 1273"/>
                <a:gd name="T57" fmla="*/ 568 h 1033"/>
                <a:gd name="T58" fmla="*/ 0 w 1273"/>
                <a:gd name="T59" fmla="*/ 520 h 1033"/>
                <a:gd name="T60" fmla="*/ 88 w 1273"/>
                <a:gd name="T61" fmla="*/ 464 h 1033"/>
                <a:gd name="T62" fmla="*/ 136 w 1273"/>
                <a:gd name="T63" fmla="*/ 456 h 1033"/>
                <a:gd name="T64" fmla="*/ 152 w 1273"/>
                <a:gd name="T65" fmla="*/ 480 h 1033"/>
                <a:gd name="T66" fmla="*/ 200 w 1273"/>
                <a:gd name="T67" fmla="*/ 480 h 1033"/>
                <a:gd name="T68" fmla="*/ 304 w 1273"/>
                <a:gd name="T69" fmla="*/ 456 h 1033"/>
                <a:gd name="T70" fmla="*/ 416 w 1273"/>
                <a:gd name="T71" fmla="*/ 424 h 1033"/>
                <a:gd name="T72" fmla="*/ 424 w 1273"/>
                <a:gd name="T73" fmla="*/ 376 h 1033"/>
                <a:gd name="T74" fmla="*/ 472 w 1273"/>
                <a:gd name="T75" fmla="*/ 232 h 1033"/>
                <a:gd name="T76" fmla="*/ 456 w 1273"/>
                <a:gd name="T77" fmla="*/ 200 h 1033"/>
                <a:gd name="T78" fmla="*/ 592 w 1273"/>
                <a:gd name="T79" fmla="*/ 224 h 1033"/>
                <a:gd name="T80" fmla="*/ 664 w 1273"/>
                <a:gd name="T81" fmla="*/ 96 h 1033"/>
                <a:gd name="T82" fmla="*/ 784 w 1273"/>
                <a:gd name="T83" fmla="*/ 128 h 1033"/>
                <a:gd name="T84" fmla="*/ 784 w 1273"/>
                <a:gd name="T85" fmla="*/ 80 h 1033"/>
                <a:gd name="T86" fmla="*/ 840 w 1273"/>
                <a:gd name="T87" fmla="*/ 40 h 1033"/>
                <a:gd name="T88" fmla="*/ 880 w 1273"/>
                <a:gd name="T89" fmla="*/ 0 h 1033"/>
                <a:gd name="T90" fmla="*/ 928 w 1273"/>
                <a:gd name="T91" fmla="*/ 16 h 1033"/>
                <a:gd name="T92" fmla="*/ 928 w 1273"/>
                <a:gd name="T93" fmla="*/ 48 h 1033"/>
                <a:gd name="T94" fmla="*/ 960 w 1273"/>
                <a:gd name="T95" fmla="*/ 112 h 1033"/>
                <a:gd name="T96" fmla="*/ 1024 w 1273"/>
                <a:gd name="T97" fmla="*/ 144 h 1033"/>
                <a:gd name="T98" fmla="*/ 1040 w 1273"/>
                <a:gd name="T99" fmla="*/ 248 h 1033"/>
                <a:gd name="T100" fmla="*/ 1016 w 1273"/>
                <a:gd name="T101" fmla="*/ 336 h 1033"/>
                <a:gd name="T102" fmla="*/ 1112 w 1273"/>
                <a:gd name="T103" fmla="*/ 368 h 1033"/>
                <a:gd name="T104" fmla="*/ 1208 w 1273"/>
                <a:gd name="T105" fmla="*/ 440 h 1033"/>
                <a:gd name="T106" fmla="*/ 1232 w 1273"/>
                <a:gd name="T107" fmla="*/ 480 h 1033"/>
                <a:gd name="T108" fmla="*/ 1272 w 1273"/>
                <a:gd name="T109" fmla="*/ 568 h 1033"/>
                <a:gd name="T110" fmla="*/ 0 w 1273"/>
                <a:gd name="T111" fmla="*/ 0 h 1033"/>
                <a:gd name="T112" fmla="*/ 1273 w 1273"/>
                <a:gd name="T113" fmla="*/ 1033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51" name="Freeform 37"/>
            <p:cNvSpPr/>
            <p:nvPr/>
          </p:nvSpPr>
          <p:spPr bwMode="auto">
            <a:xfrm>
              <a:off x="4988265" y="4762152"/>
              <a:ext cx="190500" cy="355600"/>
            </a:xfrm>
            <a:custGeom>
              <a:avLst/>
              <a:gdLst>
                <a:gd name="T0" fmla="*/ 24 w 129"/>
                <a:gd name="T1" fmla="*/ 232 h 257"/>
                <a:gd name="T2" fmla="*/ 32 w 129"/>
                <a:gd name="T3" fmla="*/ 248 h 257"/>
                <a:gd name="T4" fmla="*/ 56 w 129"/>
                <a:gd name="T5" fmla="*/ 256 h 257"/>
                <a:gd name="T6" fmla="*/ 64 w 129"/>
                <a:gd name="T7" fmla="*/ 224 h 257"/>
                <a:gd name="T8" fmla="*/ 104 w 129"/>
                <a:gd name="T9" fmla="*/ 184 h 257"/>
                <a:gd name="T10" fmla="*/ 104 w 129"/>
                <a:gd name="T11" fmla="*/ 128 h 257"/>
                <a:gd name="T12" fmla="*/ 120 w 129"/>
                <a:gd name="T13" fmla="*/ 96 h 257"/>
                <a:gd name="T14" fmla="*/ 128 w 129"/>
                <a:gd name="T15" fmla="*/ 72 h 257"/>
                <a:gd name="T16" fmla="*/ 112 w 129"/>
                <a:gd name="T17" fmla="*/ 56 h 257"/>
                <a:gd name="T18" fmla="*/ 104 w 129"/>
                <a:gd name="T19" fmla="*/ 0 h 257"/>
                <a:gd name="T20" fmla="*/ 64 w 129"/>
                <a:gd name="T21" fmla="*/ 24 h 257"/>
                <a:gd name="T22" fmla="*/ 48 w 129"/>
                <a:gd name="T23" fmla="*/ 24 h 257"/>
                <a:gd name="T24" fmla="*/ 56 w 129"/>
                <a:gd name="T25" fmla="*/ 40 h 257"/>
                <a:gd name="T26" fmla="*/ 24 w 129"/>
                <a:gd name="T27" fmla="*/ 72 h 257"/>
                <a:gd name="T28" fmla="*/ 24 w 129"/>
                <a:gd name="T29" fmla="*/ 112 h 257"/>
                <a:gd name="T30" fmla="*/ 0 w 129"/>
                <a:gd name="T31" fmla="*/ 136 h 257"/>
                <a:gd name="T32" fmla="*/ 8 w 129"/>
                <a:gd name="T33" fmla="*/ 168 h 257"/>
                <a:gd name="T34" fmla="*/ 16 w 129"/>
                <a:gd name="T35" fmla="*/ 224 h 257"/>
                <a:gd name="T36" fmla="*/ 24 w 129"/>
                <a:gd name="T37" fmla="*/ 232 h 257"/>
                <a:gd name="T38" fmla="*/ 0 w 129"/>
                <a:gd name="T39" fmla="*/ 0 h 257"/>
                <a:gd name="T40" fmla="*/ 129 w 129"/>
                <a:gd name="T41"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T38" t="T39" r="T40" b="T41"/>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grpSp>
      <p:sp>
        <p:nvSpPr>
          <p:cNvPr id="52" name="矩形 51"/>
          <p:cNvSpPr/>
          <p:nvPr/>
        </p:nvSpPr>
        <p:spPr>
          <a:xfrm>
            <a:off x="4754991" y="2908762"/>
            <a:ext cx="1375986" cy="198929"/>
          </a:xfrm>
          <a:prstGeom prst="rect">
            <a:avLst/>
          </a:prstGeom>
          <a:solidFill>
            <a:schemeClr val="bg1">
              <a:lumMod val="85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p>
        </p:txBody>
      </p:sp>
      <p:sp>
        <p:nvSpPr>
          <p:cNvPr id="53" name="矩形 52"/>
          <p:cNvSpPr/>
          <p:nvPr/>
        </p:nvSpPr>
        <p:spPr>
          <a:xfrm>
            <a:off x="4754991" y="3219407"/>
            <a:ext cx="1958134" cy="198929"/>
          </a:xfrm>
          <a:prstGeom prst="rect">
            <a:avLst/>
          </a:pr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p>
        </p:txBody>
      </p:sp>
      <p:sp>
        <p:nvSpPr>
          <p:cNvPr id="54" name="矩形 53"/>
          <p:cNvSpPr/>
          <p:nvPr/>
        </p:nvSpPr>
        <p:spPr>
          <a:xfrm>
            <a:off x="4754991" y="3527681"/>
            <a:ext cx="1746444" cy="198929"/>
          </a:xfrm>
          <a:prstGeom prst="rect">
            <a:avLst/>
          </a:prstGeom>
          <a:solidFill>
            <a:schemeClr val="bg1">
              <a:lumMod val="50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p>
        </p:txBody>
      </p:sp>
      <p:sp>
        <p:nvSpPr>
          <p:cNvPr id="55" name="矩形 54"/>
          <p:cNvSpPr/>
          <p:nvPr/>
        </p:nvSpPr>
        <p:spPr>
          <a:xfrm>
            <a:off x="6696828" y="2475356"/>
            <a:ext cx="1084819"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3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6" name="矩形 55"/>
          <p:cNvSpPr/>
          <p:nvPr/>
        </p:nvSpPr>
        <p:spPr>
          <a:xfrm>
            <a:off x="6289744" y="2824255"/>
            <a:ext cx="1626598"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1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7" name="矩形 56"/>
          <p:cNvSpPr/>
          <p:nvPr/>
        </p:nvSpPr>
        <p:spPr>
          <a:xfrm>
            <a:off x="6818972" y="3171838"/>
            <a:ext cx="962675"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4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8" name="矩形 57"/>
          <p:cNvSpPr/>
          <p:nvPr/>
        </p:nvSpPr>
        <p:spPr>
          <a:xfrm>
            <a:off x="6568360" y="3493858"/>
            <a:ext cx="1213287"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2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9" name="矩形 58"/>
          <p:cNvSpPr/>
          <p:nvPr/>
        </p:nvSpPr>
        <p:spPr>
          <a:xfrm>
            <a:off x="4629017" y="1512251"/>
            <a:ext cx="1915070"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0" name="矩形 59"/>
          <p:cNvSpPr/>
          <p:nvPr/>
        </p:nvSpPr>
        <p:spPr>
          <a:xfrm>
            <a:off x="4643017" y="1865094"/>
            <a:ext cx="3825943"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输入文字点击输入文字点击输入文字点击输入</a:t>
            </a:r>
          </a:p>
        </p:txBody>
      </p:sp>
      <p:sp>
        <p:nvSpPr>
          <p:cNvPr id="61" name="矩形 60"/>
          <p:cNvSpPr/>
          <p:nvPr/>
        </p:nvSpPr>
        <p:spPr>
          <a:xfrm>
            <a:off x="4754991" y="2578576"/>
            <a:ext cx="1746444" cy="198929"/>
          </a:xfrm>
          <a:prstGeom prst="rect">
            <a:avLst/>
          </a:pr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30" dirty="0">
                <a:solidFill>
                  <a:srgbClr val="206DC1"/>
                </a:solidFill>
                <a:latin typeface="微软雅黑" panose="020B0503020204020204" pitchFamily="34" charset="-122"/>
                <a:ea typeface="微软雅黑" panose="020B0503020204020204" pitchFamily="34" charset="-122"/>
              </a:rPr>
              <a:t>文字</a:t>
            </a:r>
          </a:p>
        </p:txBody>
      </p:sp>
      <p:sp>
        <p:nvSpPr>
          <p:cNvPr id="62"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3" name="矩形 62"/>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6996">
        <p15:prstTrans prst="pageCurlDouble"/>
      </p:transition>
    </mc:Choice>
    <mc:Fallback xmlns="">
      <p:transition spd="slow" advClick="0" advTm="699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iterate type="lt">
                                    <p:tmPct val="10000"/>
                                  </p:iterate>
                                  <p:childTnLst>
                                    <p:set>
                                      <p:cBhvr>
                                        <p:cTn id="12" dur="1" fill="hold">
                                          <p:stCondLst>
                                            <p:cond delay="0"/>
                                          </p:stCondLst>
                                        </p:cTn>
                                        <p:tgtEl>
                                          <p:spTgt spid="59"/>
                                        </p:tgtEl>
                                        <p:attrNameLst>
                                          <p:attrName>style.visibility</p:attrName>
                                        </p:attrNameLst>
                                      </p:cBhvr>
                                      <p:to>
                                        <p:strVal val="visible"/>
                                      </p:to>
                                    </p:set>
                                    <p:anim calcmode="lin" valueType="num">
                                      <p:cBhvr>
                                        <p:cTn id="13" dur="250" fill="hold"/>
                                        <p:tgtEl>
                                          <p:spTgt spid="59"/>
                                        </p:tgtEl>
                                        <p:attrNameLst>
                                          <p:attrName>ppt_w</p:attrName>
                                        </p:attrNameLst>
                                      </p:cBhvr>
                                      <p:tavLst>
                                        <p:tav tm="0">
                                          <p:val>
                                            <p:fltVal val="0"/>
                                          </p:val>
                                        </p:tav>
                                        <p:tav tm="100000">
                                          <p:val>
                                            <p:strVal val="#ppt_w"/>
                                          </p:val>
                                        </p:tav>
                                      </p:tavLst>
                                    </p:anim>
                                    <p:anim calcmode="lin" valueType="num">
                                      <p:cBhvr>
                                        <p:cTn id="14" dur="250" fill="hold"/>
                                        <p:tgtEl>
                                          <p:spTgt spid="59"/>
                                        </p:tgtEl>
                                        <p:attrNameLst>
                                          <p:attrName>ppt_h</p:attrName>
                                        </p:attrNameLst>
                                      </p:cBhvr>
                                      <p:tavLst>
                                        <p:tav tm="0">
                                          <p:val>
                                            <p:fltVal val="0"/>
                                          </p:val>
                                        </p:tav>
                                        <p:tav tm="100000">
                                          <p:val>
                                            <p:strVal val="#ppt_h"/>
                                          </p:val>
                                        </p:tav>
                                      </p:tavLst>
                                    </p:anim>
                                  </p:childTnLst>
                                </p:cTn>
                              </p:par>
                            </p:childTnLst>
                          </p:cTn>
                        </p:par>
                        <p:par>
                          <p:cTn id="15" fill="hold">
                            <p:stCondLst>
                              <p:cond delay="1375"/>
                            </p:stCondLst>
                            <p:childTnLst>
                              <p:par>
                                <p:cTn id="16" presetID="14" presetClass="entr" presetSubtype="10" fill="hold" grpId="0" nodeType="after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randombar(horizontal)">
                                      <p:cBhvr>
                                        <p:cTn id="18" dur="250"/>
                                        <p:tgtEl>
                                          <p:spTgt spid="60"/>
                                        </p:tgtEl>
                                      </p:cBhvr>
                                    </p:animEffect>
                                  </p:childTnLst>
                                </p:cTn>
                              </p:par>
                            </p:childTnLst>
                          </p:cTn>
                        </p:par>
                        <p:par>
                          <p:cTn id="19" fill="hold">
                            <p:stCondLst>
                              <p:cond delay="1875"/>
                            </p:stCondLst>
                            <p:childTnLst>
                              <p:par>
                                <p:cTn id="20" presetID="22" presetClass="entr" presetSubtype="8"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wipe(left)">
                                      <p:cBhvr>
                                        <p:cTn id="22" dur="500"/>
                                        <p:tgtEl>
                                          <p:spTgt spid="61"/>
                                        </p:tgtEl>
                                      </p:cBhvr>
                                    </p:animEffect>
                                  </p:childTnLst>
                                </p:cTn>
                              </p:par>
                            </p:childTnLst>
                          </p:cTn>
                        </p:par>
                        <p:par>
                          <p:cTn id="23" fill="hold">
                            <p:stCondLst>
                              <p:cond delay="2375"/>
                            </p:stCondLst>
                            <p:childTnLst>
                              <p:par>
                                <p:cTn id="24" presetID="23" presetClass="entr" presetSubtype="16" fill="hold" grpId="0" nodeType="afterEffect">
                                  <p:stCondLst>
                                    <p:cond delay="0"/>
                                  </p:stCondLst>
                                  <p:iterate type="lt">
                                    <p:tmPct val="10000"/>
                                  </p:iterate>
                                  <p:childTnLst>
                                    <p:set>
                                      <p:cBhvr>
                                        <p:cTn id="25" dur="1" fill="hold">
                                          <p:stCondLst>
                                            <p:cond delay="0"/>
                                          </p:stCondLst>
                                        </p:cTn>
                                        <p:tgtEl>
                                          <p:spTgt spid="55"/>
                                        </p:tgtEl>
                                        <p:attrNameLst>
                                          <p:attrName>style.visibility</p:attrName>
                                        </p:attrNameLst>
                                      </p:cBhvr>
                                      <p:to>
                                        <p:strVal val="visible"/>
                                      </p:to>
                                    </p:set>
                                    <p:anim calcmode="lin" valueType="num">
                                      <p:cBhvr>
                                        <p:cTn id="26" dur="500" fill="hold"/>
                                        <p:tgtEl>
                                          <p:spTgt spid="55"/>
                                        </p:tgtEl>
                                        <p:attrNameLst>
                                          <p:attrName>ppt_w</p:attrName>
                                        </p:attrNameLst>
                                      </p:cBhvr>
                                      <p:tavLst>
                                        <p:tav tm="0">
                                          <p:val>
                                            <p:fltVal val="0"/>
                                          </p:val>
                                        </p:tav>
                                        <p:tav tm="100000">
                                          <p:val>
                                            <p:strVal val="#ppt_w"/>
                                          </p:val>
                                        </p:tav>
                                      </p:tavLst>
                                    </p:anim>
                                    <p:anim calcmode="lin" valueType="num">
                                      <p:cBhvr>
                                        <p:cTn id="27" dur="500" fill="hold"/>
                                        <p:tgtEl>
                                          <p:spTgt spid="55"/>
                                        </p:tgtEl>
                                        <p:attrNameLst>
                                          <p:attrName>ppt_h</p:attrName>
                                        </p:attrNameLst>
                                      </p:cBhvr>
                                      <p:tavLst>
                                        <p:tav tm="0">
                                          <p:val>
                                            <p:fltVal val="0"/>
                                          </p:val>
                                        </p:tav>
                                        <p:tav tm="100000">
                                          <p:val>
                                            <p:strVal val="#ppt_h"/>
                                          </p:val>
                                        </p:tav>
                                      </p:tavLst>
                                    </p:anim>
                                  </p:childTnLst>
                                </p:cTn>
                              </p:par>
                            </p:childTnLst>
                          </p:cTn>
                        </p:par>
                        <p:par>
                          <p:cTn id="28" fill="hold">
                            <p:stCondLst>
                              <p:cond delay="2724"/>
                            </p:stCondLst>
                            <p:childTnLst>
                              <p:par>
                                <p:cTn id="29" presetID="22" presetClass="entr" presetSubtype="8" fill="hold" grpId="0"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wipe(left)">
                                      <p:cBhvr>
                                        <p:cTn id="31" dur="500"/>
                                        <p:tgtEl>
                                          <p:spTgt spid="52"/>
                                        </p:tgtEl>
                                      </p:cBhvr>
                                    </p:animEffect>
                                  </p:childTnLst>
                                </p:cTn>
                              </p:par>
                            </p:childTnLst>
                          </p:cTn>
                        </p:par>
                        <p:par>
                          <p:cTn id="32" fill="hold">
                            <p:stCondLst>
                              <p:cond delay="3224"/>
                            </p:stCondLst>
                            <p:childTnLst>
                              <p:par>
                                <p:cTn id="33" presetID="23" presetClass="entr" presetSubtype="16" fill="hold" grpId="0" nodeType="afterEffect">
                                  <p:stCondLst>
                                    <p:cond delay="0"/>
                                  </p:stCondLst>
                                  <p:iterate type="lt">
                                    <p:tmPct val="10000"/>
                                  </p:iterate>
                                  <p:childTnLst>
                                    <p:set>
                                      <p:cBhvr>
                                        <p:cTn id="34" dur="1" fill="hold">
                                          <p:stCondLst>
                                            <p:cond delay="0"/>
                                          </p:stCondLst>
                                        </p:cTn>
                                        <p:tgtEl>
                                          <p:spTgt spid="56"/>
                                        </p:tgtEl>
                                        <p:attrNameLst>
                                          <p:attrName>style.visibility</p:attrName>
                                        </p:attrNameLst>
                                      </p:cBhvr>
                                      <p:to>
                                        <p:strVal val="visible"/>
                                      </p:to>
                                    </p:set>
                                    <p:anim calcmode="lin" valueType="num">
                                      <p:cBhvr>
                                        <p:cTn id="35" dur="500" fill="hold"/>
                                        <p:tgtEl>
                                          <p:spTgt spid="56"/>
                                        </p:tgtEl>
                                        <p:attrNameLst>
                                          <p:attrName>ppt_w</p:attrName>
                                        </p:attrNameLst>
                                      </p:cBhvr>
                                      <p:tavLst>
                                        <p:tav tm="0">
                                          <p:val>
                                            <p:fltVal val="0"/>
                                          </p:val>
                                        </p:tav>
                                        <p:tav tm="100000">
                                          <p:val>
                                            <p:strVal val="#ppt_w"/>
                                          </p:val>
                                        </p:tav>
                                      </p:tavLst>
                                    </p:anim>
                                    <p:anim calcmode="lin" valueType="num">
                                      <p:cBhvr>
                                        <p:cTn id="36" dur="500" fill="hold"/>
                                        <p:tgtEl>
                                          <p:spTgt spid="56"/>
                                        </p:tgtEl>
                                        <p:attrNameLst>
                                          <p:attrName>ppt_h</p:attrName>
                                        </p:attrNameLst>
                                      </p:cBhvr>
                                      <p:tavLst>
                                        <p:tav tm="0">
                                          <p:val>
                                            <p:fltVal val="0"/>
                                          </p:val>
                                        </p:tav>
                                        <p:tav tm="100000">
                                          <p:val>
                                            <p:strVal val="#ppt_h"/>
                                          </p:val>
                                        </p:tav>
                                      </p:tavLst>
                                    </p:anim>
                                  </p:childTnLst>
                                </p:cTn>
                              </p:par>
                            </p:childTnLst>
                          </p:cTn>
                        </p:par>
                        <p:par>
                          <p:cTn id="37" fill="hold">
                            <p:stCondLst>
                              <p:cond delay="3825"/>
                            </p:stCondLst>
                            <p:childTnLst>
                              <p:par>
                                <p:cTn id="38" presetID="22" presetClass="entr" presetSubtype="8" fill="hold" grpId="0" nodeType="after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wipe(left)">
                                      <p:cBhvr>
                                        <p:cTn id="40" dur="500"/>
                                        <p:tgtEl>
                                          <p:spTgt spid="53"/>
                                        </p:tgtEl>
                                      </p:cBhvr>
                                    </p:animEffect>
                                  </p:childTnLst>
                                </p:cTn>
                              </p:par>
                            </p:childTnLst>
                          </p:cTn>
                        </p:par>
                        <p:par>
                          <p:cTn id="41" fill="hold">
                            <p:stCondLst>
                              <p:cond delay="4325"/>
                            </p:stCondLst>
                            <p:childTnLst>
                              <p:par>
                                <p:cTn id="42" presetID="23" presetClass="entr" presetSubtype="16" fill="hold" grpId="0" nodeType="afterEffect">
                                  <p:stCondLst>
                                    <p:cond delay="0"/>
                                  </p:stCondLst>
                                  <p:iterate type="lt">
                                    <p:tmPct val="10000"/>
                                  </p:iterate>
                                  <p:childTnLst>
                                    <p:set>
                                      <p:cBhvr>
                                        <p:cTn id="43" dur="1" fill="hold">
                                          <p:stCondLst>
                                            <p:cond delay="0"/>
                                          </p:stCondLst>
                                        </p:cTn>
                                        <p:tgtEl>
                                          <p:spTgt spid="57"/>
                                        </p:tgtEl>
                                        <p:attrNameLst>
                                          <p:attrName>style.visibility</p:attrName>
                                        </p:attrNameLst>
                                      </p:cBhvr>
                                      <p:to>
                                        <p:strVal val="visible"/>
                                      </p:to>
                                    </p:set>
                                    <p:anim calcmode="lin" valueType="num">
                                      <p:cBhvr>
                                        <p:cTn id="44" dur="500" fill="hold"/>
                                        <p:tgtEl>
                                          <p:spTgt spid="57"/>
                                        </p:tgtEl>
                                        <p:attrNameLst>
                                          <p:attrName>ppt_w</p:attrName>
                                        </p:attrNameLst>
                                      </p:cBhvr>
                                      <p:tavLst>
                                        <p:tav tm="0">
                                          <p:val>
                                            <p:fltVal val="0"/>
                                          </p:val>
                                        </p:tav>
                                        <p:tav tm="100000">
                                          <p:val>
                                            <p:strVal val="#ppt_w"/>
                                          </p:val>
                                        </p:tav>
                                      </p:tavLst>
                                    </p:anim>
                                    <p:anim calcmode="lin" valueType="num">
                                      <p:cBhvr>
                                        <p:cTn id="45" dur="500" fill="hold"/>
                                        <p:tgtEl>
                                          <p:spTgt spid="57"/>
                                        </p:tgtEl>
                                        <p:attrNameLst>
                                          <p:attrName>ppt_h</p:attrName>
                                        </p:attrNameLst>
                                      </p:cBhvr>
                                      <p:tavLst>
                                        <p:tav tm="0">
                                          <p:val>
                                            <p:fltVal val="0"/>
                                          </p:val>
                                        </p:tav>
                                        <p:tav tm="100000">
                                          <p:val>
                                            <p:strVal val="#ppt_h"/>
                                          </p:val>
                                        </p:tav>
                                      </p:tavLst>
                                    </p:anim>
                                  </p:childTnLst>
                                </p:cTn>
                              </p:par>
                            </p:childTnLst>
                          </p:cTn>
                        </p:par>
                        <p:par>
                          <p:cTn id="46" fill="hold">
                            <p:stCondLst>
                              <p:cond delay="4925"/>
                            </p:stCondLst>
                            <p:childTnLst>
                              <p:par>
                                <p:cTn id="47" presetID="22" presetClass="entr" presetSubtype="8" fill="hold" grpId="0"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wipe(left)">
                                      <p:cBhvr>
                                        <p:cTn id="49" dur="500"/>
                                        <p:tgtEl>
                                          <p:spTgt spid="54"/>
                                        </p:tgtEl>
                                      </p:cBhvr>
                                    </p:animEffect>
                                  </p:childTnLst>
                                </p:cTn>
                              </p:par>
                            </p:childTnLst>
                          </p:cTn>
                        </p:par>
                        <p:par>
                          <p:cTn id="50" fill="hold">
                            <p:stCondLst>
                              <p:cond delay="5425"/>
                            </p:stCondLst>
                            <p:childTnLst>
                              <p:par>
                                <p:cTn id="51" presetID="23" presetClass="entr" presetSubtype="16" fill="hold" grpId="0" nodeType="afterEffect">
                                  <p:stCondLst>
                                    <p:cond delay="0"/>
                                  </p:stCondLst>
                                  <p:iterate type="lt">
                                    <p:tmPct val="10000"/>
                                  </p:iterate>
                                  <p:childTnLst>
                                    <p:set>
                                      <p:cBhvr>
                                        <p:cTn id="52" dur="1" fill="hold">
                                          <p:stCondLst>
                                            <p:cond delay="0"/>
                                          </p:stCondLst>
                                        </p:cTn>
                                        <p:tgtEl>
                                          <p:spTgt spid="58"/>
                                        </p:tgtEl>
                                        <p:attrNameLst>
                                          <p:attrName>style.visibility</p:attrName>
                                        </p:attrNameLst>
                                      </p:cBhvr>
                                      <p:to>
                                        <p:strVal val="visible"/>
                                      </p:to>
                                    </p:set>
                                    <p:anim calcmode="lin" valueType="num">
                                      <p:cBhvr>
                                        <p:cTn id="53" dur="500" fill="hold"/>
                                        <p:tgtEl>
                                          <p:spTgt spid="58"/>
                                        </p:tgtEl>
                                        <p:attrNameLst>
                                          <p:attrName>ppt_w</p:attrName>
                                        </p:attrNameLst>
                                      </p:cBhvr>
                                      <p:tavLst>
                                        <p:tav tm="0">
                                          <p:val>
                                            <p:fltVal val="0"/>
                                          </p:val>
                                        </p:tav>
                                        <p:tav tm="100000">
                                          <p:val>
                                            <p:strVal val="#ppt_w"/>
                                          </p:val>
                                        </p:tav>
                                      </p:tavLst>
                                    </p:anim>
                                    <p:anim calcmode="lin" valueType="num">
                                      <p:cBhvr>
                                        <p:cTn id="54" dur="500" fill="hold"/>
                                        <p:tgtEl>
                                          <p:spTgt spid="5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55" grpId="0"/>
      <p:bldP spid="56" grpId="0"/>
      <p:bldP spid="57" grpId="0"/>
      <p:bldP spid="58" grpId="0"/>
      <p:bldP spid="59" grpId="0"/>
      <p:bldP spid="60" grpId="0"/>
      <p:bldP spid="6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111136" y="1983572"/>
            <a:ext cx="862737" cy="1582539"/>
            <a:chOff x="124694" y="2347215"/>
            <a:chExt cx="1173865" cy="2153249"/>
          </a:xfrm>
        </p:grpSpPr>
        <p:grpSp>
          <p:nvGrpSpPr>
            <p:cNvPr id="18" name="组合 17"/>
            <p:cNvGrpSpPr/>
            <p:nvPr/>
          </p:nvGrpSpPr>
          <p:grpSpPr>
            <a:xfrm>
              <a:off x="770183" y="2347215"/>
              <a:ext cx="179916" cy="1100108"/>
              <a:chOff x="4524245" y="3111810"/>
              <a:chExt cx="134937" cy="825081"/>
            </a:xfrm>
          </p:grpSpPr>
          <p:cxnSp>
            <p:nvCxnSpPr>
              <p:cNvPr id="20" name="直接连接符 19"/>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9" name="矩形 18"/>
            <p:cNvSpPr/>
            <p:nvPr/>
          </p:nvSpPr>
          <p:spPr>
            <a:xfrm>
              <a:off x="124694" y="3266750"/>
              <a:ext cx="1173865" cy="1233714"/>
            </a:xfrm>
            <a:prstGeom prst="rect">
              <a:avLst/>
            </a:prstGeom>
          </p:spPr>
          <p:txBody>
            <a:bodyPr wrap="none">
              <a:spAutoFit/>
            </a:bodyPr>
            <a:lstStyle/>
            <a:p>
              <a:r>
                <a:rPr lang="zh-CN" altLang="en-US" sz="5290"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0"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23" name="组合 22"/>
          <p:cNvGrpSpPr/>
          <p:nvPr/>
        </p:nvGrpSpPr>
        <p:grpSpPr>
          <a:xfrm>
            <a:off x="2863600" y="1983572"/>
            <a:ext cx="862737" cy="1582539"/>
            <a:chOff x="3869778" y="2347215"/>
            <a:chExt cx="1173865" cy="2153249"/>
          </a:xfrm>
        </p:grpSpPr>
        <p:grpSp>
          <p:nvGrpSpPr>
            <p:cNvPr id="24" name="组合 23"/>
            <p:cNvGrpSpPr/>
            <p:nvPr/>
          </p:nvGrpSpPr>
          <p:grpSpPr>
            <a:xfrm>
              <a:off x="4515267" y="2347215"/>
              <a:ext cx="179916" cy="1100108"/>
              <a:chOff x="4524245" y="3111810"/>
              <a:chExt cx="134937" cy="825081"/>
            </a:xfrm>
          </p:grpSpPr>
          <p:cxnSp>
            <p:nvCxnSpPr>
              <p:cNvPr id="26" name="直接连接符 25"/>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5" name="矩形 24"/>
            <p:cNvSpPr/>
            <p:nvPr/>
          </p:nvSpPr>
          <p:spPr>
            <a:xfrm>
              <a:off x="3869778" y="3266750"/>
              <a:ext cx="1173865" cy="1233714"/>
            </a:xfrm>
            <a:prstGeom prst="rect">
              <a:avLst/>
            </a:prstGeom>
          </p:spPr>
          <p:txBody>
            <a:bodyPr wrap="none">
              <a:spAutoFit/>
            </a:bodyPr>
            <a:lstStyle/>
            <a:p>
              <a:r>
                <a:rPr lang="zh-CN" altLang="en-US" sz="5290"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0"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29" name="组合 28"/>
          <p:cNvGrpSpPr/>
          <p:nvPr/>
        </p:nvGrpSpPr>
        <p:grpSpPr>
          <a:xfrm>
            <a:off x="5616064" y="1983572"/>
            <a:ext cx="862737" cy="1582539"/>
            <a:chOff x="7614862" y="2347215"/>
            <a:chExt cx="1173865" cy="2153249"/>
          </a:xfrm>
        </p:grpSpPr>
        <p:grpSp>
          <p:nvGrpSpPr>
            <p:cNvPr id="30" name="组合 29"/>
            <p:cNvGrpSpPr/>
            <p:nvPr/>
          </p:nvGrpSpPr>
          <p:grpSpPr>
            <a:xfrm>
              <a:off x="8260351" y="2347215"/>
              <a:ext cx="179916" cy="1100108"/>
              <a:chOff x="4524245" y="3111810"/>
              <a:chExt cx="134937" cy="825081"/>
            </a:xfrm>
          </p:grpSpPr>
          <p:cxnSp>
            <p:nvCxnSpPr>
              <p:cNvPr id="32" name="直接连接符 31"/>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1" name="矩形 30"/>
            <p:cNvSpPr/>
            <p:nvPr/>
          </p:nvSpPr>
          <p:spPr>
            <a:xfrm>
              <a:off x="7614862" y="3266750"/>
              <a:ext cx="1173865" cy="1233714"/>
            </a:xfrm>
            <a:prstGeom prst="rect">
              <a:avLst/>
            </a:prstGeom>
          </p:spPr>
          <p:txBody>
            <a:bodyPr wrap="none">
              <a:spAutoFit/>
            </a:bodyPr>
            <a:lstStyle/>
            <a:p>
              <a:r>
                <a:rPr lang="zh-CN" altLang="en-US" sz="5290"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0"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35" name="组合 34"/>
          <p:cNvGrpSpPr/>
          <p:nvPr/>
        </p:nvGrpSpPr>
        <p:grpSpPr>
          <a:xfrm>
            <a:off x="837682" y="2795181"/>
            <a:ext cx="739373" cy="753500"/>
            <a:chOff x="1113255" y="3451514"/>
            <a:chExt cx="1006013" cy="1025234"/>
          </a:xfrm>
        </p:grpSpPr>
        <p:sp>
          <p:nvSpPr>
            <p:cNvPr id="36" name="Freeform 5"/>
            <p:cNvSpPr>
              <a:spLocks noEditPoints="1"/>
            </p:cNvSpPr>
            <p:nvPr/>
          </p:nvSpPr>
          <p:spPr bwMode="auto">
            <a:xfrm>
              <a:off x="1113255" y="3451514"/>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5"/>
            </a:p>
          </p:txBody>
        </p:sp>
        <p:sp>
          <p:nvSpPr>
            <p:cNvPr id="37" name="文本框 36"/>
            <p:cNvSpPr txBox="1"/>
            <p:nvPr/>
          </p:nvSpPr>
          <p:spPr>
            <a:xfrm>
              <a:off x="1291492" y="3617441"/>
              <a:ext cx="718017" cy="679629"/>
            </a:xfrm>
            <a:prstGeom prst="rect">
              <a:avLst/>
            </a:prstGeom>
            <a:noFill/>
            <a:effectLst/>
          </p:spPr>
          <p:txBody>
            <a:bodyPr wrap="none" rtlCol="0">
              <a:spAutoFit/>
            </a:bodyPr>
            <a:lstStyle/>
            <a:p>
              <a:r>
                <a:rPr lang="en-US" altLang="zh-CN" sz="2645" b="1" dirty="0">
                  <a:solidFill>
                    <a:schemeClr val="bg1"/>
                  </a:solidFill>
                  <a:latin typeface="方正姚体" panose="02010601030101010101" pitchFamily="2" charset="-122"/>
                  <a:ea typeface="方正姚体" panose="02010601030101010101" pitchFamily="2" charset="-122"/>
                </a:rPr>
                <a:t>01</a:t>
              </a:r>
              <a:endParaRPr lang="en-US" altLang="zh-CN" sz="2060" b="1" dirty="0">
                <a:solidFill>
                  <a:schemeClr val="bg1"/>
                </a:solidFill>
                <a:latin typeface="方正姚体" panose="02010601030101010101" pitchFamily="2" charset="-122"/>
                <a:ea typeface="方正姚体" panose="02010601030101010101" pitchFamily="2" charset="-122"/>
              </a:endParaRPr>
            </a:p>
          </p:txBody>
        </p:sp>
      </p:grpSp>
      <p:grpSp>
        <p:nvGrpSpPr>
          <p:cNvPr id="38" name="组合 37"/>
          <p:cNvGrpSpPr/>
          <p:nvPr/>
        </p:nvGrpSpPr>
        <p:grpSpPr>
          <a:xfrm>
            <a:off x="3590146" y="2788075"/>
            <a:ext cx="739373" cy="753500"/>
            <a:chOff x="4858339" y="3441846"/>
            <a:chExt cx="1006013" cy="1025234"/>
          </a:xfrm>
        </p:grpSpPr>
        <p:sp>
          <p:nvSpPr>
            <p:cNvPr id="39" name="Freeform 5"/>
            <p:cNvSpPr>
              <a:spLocks noEditPoints="1"/>
            </p:cNvSpPr>
            <p:nvPr/>
          </p:nvSpPr>
          <p:spPr bwMode="auto">
            <a:xfrm>
              <a:off x="4858339" y="3441846"/>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5" dirty="0"/>
            </a:p>
          </p:txBody>
        </p:sp>
        <p:sp>
          <p:nvSpPr>
            <p:cNvPr id="40" name="文本框 39"/>
            <p:cNvSpPr txBox="1"/>
            <p:nvPr/>
          </p:nvSpPr>
          <p:spPr>
            <a:xfrm>
              <a:off x="5036577" y="3617441"/>
              <a:ext cx="718017" cy="679629"/>
            </a:xfrm>
            <a:prstGeom prst="rect">
              <a:avLst/>
            </a:prstGeom>
            <a:noFill/>
            <a:effectLst/>
          </p:spPr>
          <p:txBody>
            <a:bodyPr wrap="none" rtlCol="0">
              <a:spAutoFit/>
            </a:bodyPr>
            <a:lstStyle/>
            <a:p>
              <a:r>
                <a:rPr lang="en-US" altLang="zh-CN" sz="2645" b="1" dirty="0">
                  <a:solidFill>
                    <a:schemeClr val="bg1"/>
                  </a:solidFill>
                  <a:latin typeface="方正姚体" panose="02010601030101010101" pitchFamily="2" charset="-122"/>
                  <a:ea typeface="方正姚体" panose="02010601030101010101" pitchFamily="2" charset="-122"/>
                </a:rPr>
                <a:t>02</a:t>
              </a:r>
              <a:endParaRPr lang="en-US" altLang="zh-CN" sz="2060" b="1" dirty="0">
                <a:solidFill>
                  <a:schemeClr val="bg1"/>
                </a:solidFill>
                <a:latin typeface="方正姚体" panose="02010601030101010101" pitchFamily="2" charset="-122"/>
                <a:ea typeface="方正姚体" panose="02010601030101010101" pitchFamily="2" charset="-122"/>
              </a:endParaRPr>
            </a:p>
          </p:txBody>
        </p:sp>
      </p:grpSp>
      <p:grpSp>
        <p:nvGrpSpPr>
          <p:cNvPr id="41" name="组合 40"/>
          <p:cNvGrpSpPr/>
          <p:nvPr/>
        </p:nvGrpSpPr>
        <p:grpSpPr>
          <a:xfrm>
            <a:off x="6342609" y="2788075"/>
            <a:ext cx="739373" cy="753500"/>
            <a:chOff x="8603423" y="3441846"/>
            <a:chExt cx="1006013" cy="1025234"/>
          </a:xfrm>
        </p:grpSpPr>
        <p:sp>
          <p:nvSpPr>
            <p:cNvPr id="44" name="Freeform 5"/>
            <p:cNvSpPr>
              <a:spLocks noEditPoints="1"/>
            </p:cNvSpPr>
            <p:nvPr/>
          </p:nvSpPr>
          <p:spPr bwMode="auto">
            <a:xfrm>
              <a:off x="8603423" y="3441846"/>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5"/>
            </a:p>
          </p:txBody>
        </p:sp>
        <p:sp>
          <p:nvSpPr>
            <p:cNvPr id="45" name="文本框 44"/>
            <p:cNvSpPr txBox="1"/>
            <p:nvPr/>
          </p:nvSpPr>
          <p:spPr>
            <a:xfrm>
              <a:off x="8781660" y="3617441"/>
              <a:ext cx="718017" cy="679629"/>
            </a:xfrm>
            <a:prstGeom prst="rect">
              <a:avLst/>
            </a:prstGeom>
            <a:noFill/>
            <a:effectLst/>
          </p:spPr>
          <p:txBody>
            <a:bodyPr wrap="none" rtlCol="0">
              <a:spAutoFit/>
            </a:bodyPr>
            <a:lstStyle/>
            <a:p>
              <a:r>
                <a:rPr lang="en-US" altLang="zh-CN" sz="2645" b="1" dirty="0">
                  <a:solidFill>
                    <a:schemeClr val="bg1"/>
                  </a:solidFill>
                  <a:latin typeface="方正姚体" panose="02010601030101010101" pitchFamily="2" charset="-122"/>
                  <a:ea typeface="方正姚体" panose="02010601030101010101" pitchFamily="2" charset="-122"/>
                </a:rPr>
                <a:t>03</a:t>
              </a:r>
              <a:endParaRPr lang="en-US" altLang="zh-CN" sz="2060" b="1" dirty="0">
                <a:solidFill>
                  <a:schemeClr val="bg1"/>
                </a:solidFill>
                <a:latin typeface="方正姚体" panose="02010601030101010101" pitchFamily="2" charset="-122"/>
                <a:ea typeface="方正姚体" panose="02010601030101010101" pitchFamily="2" charset="-122"/>
              </a:endParaRPr>
            </a:p>
          </p:txBody>
        </p:sp>
      </p:grpSp>
      <p:grpSp>
        <p:nvGrpSpPr>
          <p:cNvPr id="46" name="组合 45"/>
          <p:cNvGrpSpPr/>
          <p:nvPr/>
        </p:nvGrpSpPr>
        <p:grpSpPr>
          <a:xfrm>
            <a:off x="837682" y="1858930"/>
            <a:ext cx="2114740" cy="729107"/>
            <a:chOff x="1113255" y="2177622"/>
            <a:chExt cx="2877378" cy="992045"/>
          </a:xfrm>
          <a:effectLst/>
        </p:grpSpPr>
        <p:sp>
          <p:nvSpPr>
            <p:cNvPr id="47" name="矩形 46"/>
            <p:cNvSpPr/>
            <p:nvPr/>
          </p:nvSpPr>
          <p:spPr>
            <a:xfrm>
              <a:off x="1113255"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5">
                <a:latin typeface="Calibri" panose="020F0502020204030204" pitchFamily="34" charset="0"/>
                <a:ea typeface="微软雅黑" panose="020B0503020204020204" pitchFamily="34" charset="-122"/>
              </a:endParaRPr>
            </a:p>
          </p:txBody>
        </p:sp>
        <p:sp>
          <p:nvSpPr>
            <p:cNvPr id="48" name="文本框 47"/>
            <p:cNvSpPr txBox="1"/>
            <p:nvPr/>
          </p:nvSpPr>
          <p:spPr>
            <a:xfrm>
              <a:off x="1516913" y="2306657"/>
              <a:ext cx="2109553" cy="679629"/>
            </a:xfrm>
            <a:prstGeom prst="rect">
              <a:avLst/>
            </a:prstGeom>
            <a:noFill/>
          </p:spPr>
          <p:txBody>
            <a:bodyPr wrap="none" rtlCol="0">
              <a:spAutoFit/>
            </a:bodyPr>
            <a:lstStyle/>
            <a:p>
              <a:r>
                <a:rPr lang="zh-CN" altLang="en-US" sz="2645" b="1" dirty="0">
                  <a:solidFill>
                    <a:srgbClr val="FFFFFF"/>
                  </a:solidFill>
                  <a:latin typeface="幼圆" panose="02010509060101010101" pitchFamily="49" charset="-122"/>
                  <a:ea typeface="幼圆" panose="02010509060101010101" pitchFamily="49" charset="-122"/>
                </a:rPr>
                <a:t>输入标题</a:t>
              </a:r>
            </a:p>
          </p:txBody>
        </p:sp>
      </p:grpSp>
      <p:grpSp>
        <p:nvGrpSpPr>
          <p:cNvPr id="49" name="组合 48"/>
          <p:cNvGrpSpPr/>
          <p:nvPr/>
        </p:nvGrpSpPr>
        <p:grpSpPr>
          <a:xfrm>
            <a:off x="3590145" y="1858930"/>
            <a:ext cx="2114740" cy="729107"/>
            <a:chOff x="4858339" y="2177622"/>
            <a:chExt cx="2877378" cy="992045"/>
          </a:xfrm>
          <a:effectLst/>
        </p:grpSpPr>
        <p:sp>
          <p:nvSpPr>
            <p:cNvPr id="50" name="矩形 49"/>
            <p:cNvSpPr/>
            <p:nvPr/>
          </p:nvSpPr>
          <p:spPr>
            <a:xfrm>
              <a:off x="4858339"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5" dirty="0">
                <a:latin typeface="Calibri" panose="020F0502020204030204" pitchFamily="34" charset="0"/>
                <a:ea typeface="微软雅黑" panose="020B0503020204020204" pitchFamily="34" charset="-122"/>
              </a:endParaRPr>
            </a:p>
          </p:txBody>
        </p:sp>
        <p:sp>
          <p:nvSpPr>
            <p:cNvPr id="51" name="文本框 50"/>
            <p:cNvSpPr txBox="1"/>
            <p:nvPr/>
          </p:nvSpPr>
          <p:spPr>
            <a:xfrm>
              <a:off x="5346659" y="2306657"/>
              <a:ext cx="2109553" cy="679629"/>
            </a:xfrm>
            <a:prstGeom prst="rect">
              <a:avLst/>
            </a:prstGeom>
            <a:noFill/>
          </p:spPr>
          <p:txBody>
            <a:bodyPr wrap="none" rtlCol="0">
              <a:spAutoFit/>
            </a:bodyPr>
            <a:lstStyle/>
            <a:p>
              <a:r>
                <a:rPr lang="zh-CN" altLang="en-US" sz="2645" b="1" dirty="0">
                  <a:solidFill>
                    <a:srgbClr val="FFFFFF"/>
                  </a:solidFill>
                  <a:latin typeface="幼圆" panose="02010509060101010101" pitchFamily="49" charset="-122"/>
                  <a:ea typeface="幼圆" panose="02010509060101010101" pitchFamily="49" charset="-122"/>
                </a:rPr>
                <a:t>输入标题</a:t>
              </a:r>
            </a:p>
          </p:txBody>
        </p:sp>
      </p:grpSp>
      <p:grpSp>
        <p:nvGrpSpPr>
          <p:cNvPr id="52" name="组合 51"/>
          <p:cNvGrpSpPr/>
          <p:nvPr/>
        </p:nvGrpSpPr>
        <p:grpSpPr>
          <a:xfrm>
            <a:off x="6342609" y="1858930"/>
            <a:ext cx="2114740" cy="729107"/>
            <a:chOff x="8603423" y="2177622"/>
            <a:chExt cx="2877378" cy="992045"/>
          </a:xfrm>
          <a:effectLst/>
        </p:grpSpPr>
        <p:sp>
          <p:nvSpPr>
            <p:cNvPr id="53" name="矩形 52"/>
            <p:cNvSpPr/>
            <p:nvPr/>
          </p:nvSpPr>
          <p:spPr>
            <a:xfrm>
              <a:off x="8603423"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5" dirty="0">
                <a:latin typeface="Calibri" panose="020F0502020204030204" pitchFamily="34" charset="0"/>
                <a:ea typeface="微软雅黑" panose="020B0503020204020204" pitchFamily="34" charset="-122"/>
              </a:endParaRPr>
            </a:p>
          </p:txBody>
        </p:sp>
        <p:sp>
          <p:nvSpPr>
            <p:cNvPr id="54" name="文本框 53"/>
            <p:cNvSpPr txBox="1"/>
            <p:nvPr/>
          </p:nvSpPr>
          <p:spPr>
            <a:xfrm>
              <a:off x="9023243" y="2301824"/>
              <a:ext cx="2109553" cy="679629"/>
            </a:xfrm>
            <a:prstGeom prst="rect">
              <a:avLst/>
            </a:prstGeom>
            <a:noFill/>
          </p:spPr>
          <p:txBody>
            <a:bodyPr wrap="none" rtlCol="0">
              <a:spAutoFit/>
            </a:bodyPr>
            <a:lstStyle/>
            <a:p>
              <a:r>
                <a:rPr lang="zh-CN" altLang="en-US" sz="2645" b="1" dirty="0">
                  <a:solidFill>
                    <a:srgbClr val="FFFFFF"/>
                  </a:solidFill>
                  <a:latin typeface="幼圆" panose="02010509060101010101" pitchFamily="49" charset="-122"/>
                  <a:ea typeface="幼圆" panose="02010509060101010101" pitchFamily="49" charset="-122"/>
                </a:rPr>
                <a:t>输入标题</a:t>
              </a:r>
            </a:p>
          </p:txBody>
        </p:sp>
      </p:grpSp>
      <p:sp>
        <p:nvSpPr>
          <p:cNvPr id="55" name="矩形 47"/>
          <p:cNvSpPr>
            <a:spLocks noChangeArrowheads="1"/>
          </p:cNvSpPr>
          <p:nvPr/>
        </p:nvSpPr>
        <p:spPr bwMode="auto">
          <a:xfrm>
            <a:off x="461126"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830">
              <a:lnSpc>
                <a:spcPct val="120000"/>
              </a:lnSpc>
              <a:spcBef>
                <a:spcPct val="0"/>
              </a:spcBef>
              <a:buNone/>
            </a:pPr>
            <a:r>
              <a:rPr lang="zh-CN" altLang="en-US" sz="1175" dirty="0">
                <a:solidFill>
                  <a:srgbClr val="206DC1"/>
                </a:solidFill>
                <a:sym typeface="微软雅黑" panose="020B0503020204020204" pitchFamily="34" charset="-122"/>
              </a:rPr>
              <a:t>在此录入上述图表的描述说明在此录入上述图表的描述说明</a:t>
            </a:r>
          </a:p>
        </p:txBody>
      </p:sp>
      <p:sp>
        <p:nvSpPr>
          <p:cNvPr id="56" name="矩形 47"/>
          <p:cNvSpPr>
            <a:spLocks noChangeArrowheads="1"/>
          </p:cNvSpPr>
          <p:nvPr/>
        </p:nvSpPr>
        <p:spPr bwMode="auto">
          <a:xfrm>
            <a:off x="3244084"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830">
              <a:lnSpc>
                <a:spcPct val="120000"/>
              </a:lnSpc>
              <a:spcBef>
                <a:spcPct val="0"/>
              </a:spcBef>
              <a:buNone/>
            </a:pPr>
            <a:r>
              <a:rPr lang="zh-CN" altLang="en-US" sz="1175" dirty="0">
                <a:solidFill>
                  <a:srgbClr val="206DC1"/>
                </a:solidFill>
                <a:sym typeface="微软雅黑" panose="020B0503020204020204" pitchFamily="34" charset="-122"/>
              </a:rPr>
              <a:t>在此录入上述图表的描述说明在此录入上述图表的描述说明</a:t>
            </a:r>
          </a:p>
        </p:txBody>
      </p:sp>
      <p:sp>
        <p:nvSpPr>
          <p:cNvPr id="57" name="矩形 47"/>
          <p:cNvSpPr>
            <a:spLocks noChangeArrowheads="1"/>
          </p:cNvSpPr>
          <p:nvPr/>
        </p:nvSpPr>
        <p:spPr bwMode="auto">
          <a:xfrm>
            <a:off x="5977931"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830">
              <a:lnSpc>
                <a:spcPct val="120000"/>
              </a:lnSpc>
              <a:spcBef>
                <a:spcPct val="0"/>
              </a:spcBef>
              <a:buNone/>
            </a:pPr>
            <a:r>
              <a:rPr lang="zh-CN" altLang="en-US" sz="1175" dirty="0">
                <a:solidFill>
                  <a:srgbClr val="206DC1"/>
                </a:solidFill>
                <a:sym typeface="微软雅黑" panose="020B0503020204020204" pitchFamily="34" charset="-122"/>
              </a:rPr>
              <a:t>在此录入上述图表的描述说明在此录入上述图表的描述说明</a:t>
            </a:r>
          </a:p>
        </p:txBody>
      </p:sp>
      <p:sp>
        <p:nvSpPr>
          <p:cNvPr id="5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9" name="矩形 5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3131">
        <p15:prstTrans prst="pageCurlDouble"/>
      </p:transition>
    </mc:Choice>
    <mc:Fallback xmlns="">
      <p:transition spd="slow" advClick="0" advTm="131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withEffect">
                                  <p:stCondLst>
                                    <p:cond delay="250"/>
                                  </p:stCondLst>
                                  <p:childTnLst>
                                    <p:set>
                                      <p:cBhvr>
                                        <p:cTn id="6" dur="1" fill="hold">
                                          <p:stCondLst>
                                            <p:cond delay="0"/>
                                          </p:stCondLst>
                                        </p:cTn>
                                        <p:tgtEl>
                                          <p:spTgt spid="35"/>
                                        </p:tgtEl>
                                        <p:attrNameLst>
                                          <p:attrName>style.visibility</p:attrName>
                                        </p:attrNameLst>
                                      </p:cBhvr>
                                      <p:to>
                                        <p:strVal val="visible"/>
                                      </p:to>
                                    </p:set>
                                    <p:anim calcmode="lin" valueType="num">
                                      <p:cBhvr>
                                        <p:cTn id="7" dur="750" fill="hold"/>
                                        <p:tgtEl>
                                          <p:spTgt spid="35"/>
                                        </p:tgtEl>
                                        <p:attrNameLst>
                                          <p:attrName>ppt_w</p:attrName>
                                        </p:attrNameLst>
                                      </p:cBhvr>
                                      <p:tavLst>
                                        <p:tav tm="0">
                                          <p:val>
                                            <p:strVal val="4*#ppt_w"/>
                                          </p:val>
                                        </p:tav>
                                        <p:tav tm="100000">
                                          <p:val>
                                            <p:strVal val="#ppt_w"/>
                                          </p:val>
                                        </p:tav>
                                      </p:tavLst>
                                    </p:anim>
                                    <p:anim calcmode="lin" valueType="num">
                                      <p:cBhvr>
                                        <p:cTn id="8" dur="750" fill="hold"/>
                                        <p:tgtEl>
                                          <p:spTgt spid="35"/>
                                        </p:tgtEl>
                                        <p:attrNameLst>
                                          <p:attrName>ppt_h</p:attrName>
                                        </p:attrNameLst>
                                      </p:cBhvr>
                                      <p:tavLst>
                                        <p:tav tm="0">
                                          <p:val>
                                            <p:strVal val="4*#ppt_h"/>
                                          </p:val>
                                        </p:tav>
                                        <p:tav tm="100000">
                                          <p:val>
                                            <p:strVal val="#ppt_h"/>
                                          </p:val>
                                        </p:tav>
                                      </p:tavLst>
                                    </p:anim>
                                  </p:childTnLst>
                                </p:cTn>
                              </p:par>
                            </p:childTnLst>
                          </p:cTn>
                        </p:par>
                        <p:par>
                          <p:cTn id="9" fill="hold">
                            <p:stCondLst>
                              <p:cond delay="1250"/>
                            </p:stCondLst>
                            <p:childTnLst>
                              <p:par>
                                <p:cTn id="10" presetID="26" presetClass="emph" presetSubtype="0" fill="hold" nodeType="afterEffect">
                                  <p:stCondLst>
                                    <p:cond delay="0"/>
                                  </p:stCondLst>
                                  <p:childTnLst>
                                    <p:animEffect transition="out" filter="fade">
                                      <p:cBhvr>
                                        <p:cTn id="11" dur="500" tmFilter="0, 0; .2, .5; .8, .5; 1, 0"/>
                                        <p:tgtEl>
                                          <p:spTgt spid="35"/>
                                        </p:tgtEl>
                                      </p:cBhvr>
                                    </p:animEffect>
                                    <p:animScale>
                                      <p:cBhvr>
                                        <p:cTn id="12" dur="250" autoRev="1" fill="hold"/>
                                        <p:tgtEl>
                                          <p:spTgt spid="35"/>
                                        </p:tgtEl>
                                      </p:cBhvr>
                                      <p:by x="105000" y="105000"/>
                                    </p:animScale>
                                  </p:childTnLst>
                                </p:cTn>
                              </p:par>
                            </p:childTnLst>
                          </p:cTn>
                        </p:par>
                        <p:par>
                          <p:cTn id="13" fill="hold">
                            <p:stCondLst>
                              <p:cond delay="1750"/>
                            </p:stCondLst>
                            <p:childTnLst>
                              <p:par>
                                <p:cTn id="14" presetID="22" presetClass="entr" presetSubtype="4"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down)">
                                      <p:cBhvr>
                                        <p:cTn id="16" dur="500"/>
                                        <p:tgtEl>
                                          <p:spTgt spid="17"/>
                                        </p:tgtEl>
                                      </p:cBhvr>
                                    </p:animEffect>
                                  </p:childTnLst>
                                </p:cTn>
                              </p:par>
                            </p:childTnLst>
                          </p:cTn>
                        </p:par>
                        <p:par>
                          <p:cTn id="17" fill="hold">
                            <p:stCondLst>
                              <p:cond delay="2250"/>
                            </p:stCondLst>
                            <p:childTnLst>
                              <p:par>
                                <p:cTn id="18" presetID="30" presetClass="entr" presetSubtype="0" fill="hold"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800" decel="100000"/>
                                        <p:tgtEl>
                                          <p:spTgt spid="46"/>
                                        </p:tgtEl>
                                      </p:cBhvr>
                                    </p:animEffect>
                                    <p:anim calcmode="lin" valueType="num">
                                      <p:cBhvr>
                                        <p:cTn id="21" dur="800" decel="100000" fill="hold"/>
                                        <p:tgtEl>
                                          <p:spTgt spid="46"/>
                                        </p:tgtEl>
                                        <p:attrNameLst>
                                          <p:attrName>style.rotation</p:attrName>
                                        </p:attrNameLst>
                                      </p:cBhvr>
                                      <p:tavLst>
                                        <p:tav tm="0">
                                          <p:val>
                                            <p:fltVal val="-90"/>
                                          </p:val>
                                        </p:tav>
                                        <p:tav tm="100000">
                                          <p:val>
                                            <p:fltVal val="0"/>
                                          </p:val>
                                        </p:tav>
                                      </p:tavLst>
                                    </p:anim>
                                    <p:anim calcmode="lin" valueType="num">
                                      <p:cBhvr>
                                        <p:cTn id="22" dur="800" decel="100000" fill="hold"/>
                                        <p:tgtEl>
                                          <p:spTgt spid="46"/>
                                        </p:tgtEl>
                                        <p:attrNameLst>
                                          <p:attrName>ppt_x</p:attrName>
                                        </p:attrNameLst>
                                      </p:cBhvr>
                                      <p:tavLst>
                                        <p:tav tm="0">
                                          <p:val>
                                            <p:strVal val="#ppt_x+0.4"/>
                                          </p:val>
                                        </p:tav>
                                        <p:tav tm="100000">
                                          <p:val>
                                            <p:strVal val="#ppt_x-0.05"/>
                                          </p:val>
                                        </p:tav>
                                      </p:tavLst>
                                    </p:anim>
                                    <p:anim calcmode="lin" valueType="num">
                                      <p:cBhvr>
                                        <p:cTn id="23" dur="800" decel="100000" fill="hold"/>
                                        <p:tgtEl>
                                          <p:spTgt spid="46"/>
                                        </p:tgtEl>
                                        <p:attrNameLst>
                                          <p:attrName>ppt_y</p:attrName>
                                        </p:attrNameLst>
                                      </p:cBhvr>
                                      <p:tavLst>
                                        <p:tav tm="0">
                                          <p:val>
                                            <p:strVal val="#ppt_y-0.4"/>
                                          </p:val>
                                        </p:tav>
                                        <p:tav tm="100000">
                                          <p:val>
                                            <p:strVal val="#ppt_y+0.1"/>
                                          </p:val>
                                        </p:tav>
                                      </p:tavLst>
                                    </p:anim>
                                    <p:anim calcmode="lin" valueType="num">
                                      <p:cBhvr>
                                        <p:cTn id="24"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25"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26" fill="hold">
                            <p:stCondLst>
                              <p:cond delay="3250"/>
                            </p:stCondLst>
                            <p:childTnLst>
                              <p:par>
                                <p:cTn id="27" presetID="23" presetClass="entr" presetSubtype="32" fill="hold" nodeType="after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750" fill="hold"/>
                                        <p:tgtEl>
                                          <p:spTgt spid="38"/>
                                        </p:tgtEl>
                                        <p:attrNameLst>
                                          <p:attrName>ppt_w</p:attrName>
                                        </p:attrNameLst>
                                      </p:cBhvr>
                                      <p:tavLst>
                                        <p:tav tm="0">
                                          <p:val>
                                            <p:strVal val="4*#ppt_w"/>
                                          </p:val>
                                        </p:tav>
                                        <p:tav tm="100000">
                                          <p:val>
                                            <p:strVal val="#ppt_w"/>
                                          </p:val>
                                        </p:tav>
                                      </p:tavLst>
                                    </p:anim>
                                    <p:anim calcmode="lin" valueType="num">
                                      <p:cBhvr>
                                        <p:cTn id="30" dur="750" fill="hold"/>
                                        <p:tgtEl>
                                          <p:spTgt spid="38"/>
                                        </p:tgtEl>
                                        <p:attrNameLst>
                                          <p:attrName>ppt_h</p:attrName>
                                        </p:attrNameLst>
                                      </p:cBhvr>
                                      <p:tavLst>
                                        <p:tav tm="0">
                                          <p:val>
                                            <p:strVal val="4*#ppt_h"/>
                                          </p:val>
                                        </p:tav>
                                        <p:tav tm="100000">
                                          <p:val>
                                            <p:strVal val="#ppt_h"/>
                                          </p:val>
                                        </p:tav>
                                      </p:tavLst>
                                    </p:anim>
                                  </p:childTnLst>
                                </p:cTn>
                              </p:par>
                            </p:childTnLst>
                          </p:cTn>
                        </p:par>
                        <p:par>
                          <p:cTn id="31" fill="hold">
                            <p:stCondLst>
                              <p:cond delay="4250"/>
                            </p:stCondLst>
                            <p:childTnLst>
                              <p:par>
                                <p:cTn id="32" presetID="26" presetClass="emph" presetSubtype="0" fill="hold" nodeType="afterEffect">
                                  <p:stCondLst>
                                    <p:cond delay="0"/>
                                  </p:stCondLst>
                                  <p:childTnLst>
                                    <p:animEffect transition="out" filter="fade">
                                      <p:cBhvr>
                                        <p:cTn id="33" dur="500" tmFilter="0, 0; .2, .5; .8, .5; 1, 0"/>
                                        <p:tgtEl>
                                          <p:spTgt spid="38"/>
                                        </p:tgtEl>
                                      </p:cBhvr>
                                    </p:animEffect>
                                    <p:animScale>
                                      <p:cBhvr>
                                        <p:cTn id="34" dur="250" autoRev="1" fill="hold"/>
                                        <p:tgtEl>
                                          <p:spTgt spid="38"/>
                                        </p:tgtEl>
                                      </p:cBhvr>
                                      <p:by x="105000" y="105000"/>
                                    </p:animScale>
                                  </p:childTnLst>
                                </p:cTn>
                              </p:par>
                            </p:childTnLst>
                          </p:cTn>
                        </p:par>
                        <p:par>
                          <p:cTn id="35" fill="hold">
                            <p:stCondLst>
                              <p:cond delay="4750"/>
                            </p:stCondLst>
                            <p:childTnLst>
                              <p:par>
                                <p:cTn id="36" presetID="22" presetClass="entr" presetSubtype="4"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wipe(down)">
                                      <p:cBhvr>
                                        <p:cTn id="38" dur="500"/>
                                        <p:tgtEl>
                                          <p:spTgt spid="23"/>
                                        </p:tgtEl>
                                      </p:cBhvr>
                                    </p:animEffect>
                                  </p:childTnLst>
                                </p:cTn>
                              </p:par>
                            </p:childTnLst>
                          </p:cTn>
                        </p:par>
                        <p:par>
                          <p:cTn id="39" fill="hold">
                            <p:stCondLst>
                              <p:cond delay="5250"/>
                            </p:stCondLst>
                            <p:childTnLst>
                              <p:par>
                                <p:cTn id="40" presetID="30" presetClass="entr" presetSubtype="0" fill="hold" nodeType="after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fade">
                                      <p:cBhvr>
                                        <p:cTn id="42" dur="800" decel="100000"/>
                                        <p:tgtEl>
                                          <p:spTgt spid="49"/>
                                        </p:tgtEl>
                                      </p:cBhvr>
                                    </p:animEffect>
                                    <p:anim calcmode="lin" valueType="num">
                                      <p:cBhvr>
                                        <p:cTn id="43" dur="800" decel="100000" fill="hold"/>
                                        <p:tgtEl>
                                          <p:spTgt spid="49"/>
                                        </p:tgtEl>
                                        <p:attrNameLst>
                                          <p:attrName>style.rotation</p:attrName>
                                        </p:attrNameLst>
                                      </p:cBhvr>
                                      <p:tavLst>
                                        <p:tav tm="0">
                                          <p:val>
                                            <p:fltVal val="-90"/>
                                          </p:val>
                                        </p:tav>
                                        <p:tav tm="100000">
                                          <p:val>
                                            <p:fltVal val="0"/>
                                          </p:val>
                                        </p:tav>
                                      </p:tavLst>
                                    </p:anim>
                                    <p:anim calcmode="lin" valueType="num">
                                      <p:cBhvr>
                                        <p:cTn id="44" dur="800" decel="100000" fill="hold"/>
                                        <p:tgtEl>
                                          <p:spTgt spid="49"/>
                                        </p:tgtEl>
                                        <p:attrNameLst>
                                          <p:attrName>ppt_x</p:attrName>
                                        </p:attrNameLst>
                                      </p:cBhvr>
                                      <p:tavLst>
                                        <p:tav tm="0">
                                          <p:val>
                                            <p:strVal val="#ppt_x+0.4"/>
                                          </p:val>
                                        </p:tav>
                                        <p:tav tm="100000">
                                          <p:val>
                                            <p:strVal val="#ppt_x-0.05"/>
                                          </p:val>
                                        </p:tav>
                                      </p:tavLst>
                                    </p:anim>
                                    <p:anim calcmode="lin" valueType="num">
                                      <p:cBhvr>
                                        <p:cTn id="45" dur="800" decel="100000" fill="hold"/>
                                        <p:tgtEl>
                                          <p:spTgt spid="49"/>
                                        </p:tgtEl>
                                        <p:attrNameLst>
                                          <p:attrName>ppt_y</p:attrName>
                                        </p:attrNameLst>
                                      </p:cBhvr>
                                      <p:tavLst>
                                        <p:tav tm="0">
                                          <p:val>
                                            <p:strVal val="#ppt_y-0.4"/>
                                          </p:val>
                                        </p:tav>
                                        <p:tav tm="100000">
                                          <p:val>
                                            <p:strVal val="#ppt_y+0.1"/>
                                          </p:val>
                                        </p:tav>
                                      </p:tavLst>
                                    </p:anim>
                                    <p:anim calcmode="lin" valueType="num">
                                      <p:cBhvr>
                                        <p:cTn id="46" dur="200" accel="100000" fill="hold">
                                          <p:stCondLst>
                                            <p:cond delay="800"/>
                                          </p:stCondLst>
                                        </p:cTn>
                                        <p:tgtEl>
                                          <p:spTgt spid="49"/>
                                        </p:tgtEl>
                                        <p:attrNameLst>
                                          <p:attrName>ppt_x</p:attrName>
                                        </p:attrNameLst>
                                      </p:cBhvr>
                                      <p:tavLst>
                                        <p:tav tm="0">
                                          <p:val>
                                            <p:strVal val="#ppt_x-0.05"/>
                                          </p:val>
                                        </p:tav>
                                        <p:tav tm="100000">
                                          <p:val>
                                            <p:strVal val="#ppt_x"/>
                                          </p:val>
                                        </p:tav>
                                      </p:tavLst>
                                    </p:anim>
                                    <p:anim calcmode="lin" valueType="num">
                                      <p:cBhvr>
                                        <p:cTn id="47" dur="200" accel="100000" fill="hold">
                                          <p:stCondLst>
                                            <p:cond delay="800"/>
                                          </p:stCondLst>
                                        </p:cTn>
                                        <p:tgtEl>
                                          <p:spTgt spid="49"/>
                                        </p:tgtEl>
                                        <p:attrNameLst>
                                          <p:attrName>ppt_y</p:attrName>
                                        </p:attrNameLst>
                                      </p:cBhvr>
                                      <p:tavLst>
                                        <p:tav tm="0">
                                          <p:val>
                                            <p:strVal val="#ppt_y+0.1"/>
                                          </p:val>
                                        </p:tav>
                                        <p:tav tm="100000">
                                          <p:val>
                                            <p:strVal val="#ppt_y"/>
                                          </p:val>
                                        </p:tav>
                                      </p:tavLst>
                                    </p:anim>
                                  </p:childTnLst>
                                </p:cTn>
                              </p:par>
                            </p:childTnLst>
                          </p:cTn>
                        </p:par>
                        <p:par>
                          <p:cTn id="48" fill="hold">
                            <p:stCondLst>
                              <p:cond delay="6250"/>
                            </p:stCondLst>
                            <p:childTnLst>
                              <p:par>
                                <p:cTn id="49" presetID="23" presetClass="entr" presetSubtype="32" fill="hold" nodeType="after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p:cTn id="51" dur="750" fill="hold"/>
                                        <p:tgtEl>
                                          <p:spTgt spid="41"/>
                                        </p:tgtEl>
                                        <p:attrNameLst>
                                          <p:attrName>ppt_w</p:attrName>
                                        </p:attrNameLst>
                                      </p:cBhvr>
                                      <p:tavLst>
                                        <p:tav tm="0">
                                          <p:val>
                                            <p:strVal val="4*#ppt_w"/>
                                          </p:val>
                                        </p:tav>
                                        <p:tav tm="100000">
                                          <p:val>
                                            <p:strVal val="#ppt_w"/>
                                          </p:val>
                                        </p:tav>
                                      </p:tavLst>
                                    </p:anim>
                                    <p:anim calcmode="lin" valueType="num">
                                      <p:cBhvr>
                                        <p:cTn id="52" dur="750" fill="hold"/>
                                        <p:tgtEl>
                                          <p:spTgt spid="41"/>
                                        </p:tgtEl>
                                        <p:attrNameLst>
                                          <p:attrName>ppt_h</p:attrName>
                                        </p:attrNameLst>
                                      </p:cBhvr>
                                      <p:tavLst>
                                        <p:tav tm="0">
                                          <p:val>
                                            <p:strVal val="4*#ppt_h"/>
                                          </p:val>
                                        </p:tav>
                                        <p:tav tm="100000">
                                          <p:val>
                                            <p:strVal val="#ppt_h"/>
                                          </p:val>
                                        </p:tav>
                                      </p:tavLst>
                                    </p:anim>
                                  </p:childTnLst>
                                </p:cTn>
                              </p:par>
                            </p:childTnLst>
                          </p:cTn>
                        </p:par>
                        <p:par>
                          <p:cTn id="53" fill="hold">
                            <p:stCondLst>
                              <p:cond delay="7250"/>
                            </p:stCondLst>
                            <p:childTnLst>
                              <p:par>
                                <p:cTn id="54" presetID="26" presetClass="emph" presetSubtype="0" fill="hold" nodeType="afterEffect">
                                  <p:stCondLst>
                                    <p:cond delay="0"/>
                                  </p:stCondLst>
                                  <p:childTnLst>
                                    <p:animEffect transition="out" filter="fade">
                                      <p:cBhvr>
                                        <p:cTn id="55" dur="500" tmFilter="0, 0; .2, .5; .8, .5; 1, 0"/>
                                        <p:tgtEl>
                                          <p:spTgt spid="41"/>
                                        </p:tgtEl>
                                      </p:cBhvr>
                                    </p:animEffect>
                                    <p:animScale>
                                      <p:cBhvr>
                                        <p:cTn id="56" dur="250" autoRev="1" fill="hold"/>
                                        <p:tgtEl>
                                          <p:spTgt spid="41"/>
                                        </p:tgtEl>
                                      </p:cBhvr>
                                      <p:by x="105000" y="105000"/>
                                    </p:animScale>
                                  </p:childTnLst>
                                </p:cTn>
                              </p:par>
                            </p:childTnLst>
                          </p:cTn>
                        </p:par>
                        <p:par>
                          <p:cTn id="57" fill="hold">
                            <p:stCondLst>
                              <p:cond delay="7750"/>
                            </p:stCondLst>
                            <p:childTnLst>
                              <p:par>
                                <p:cTn id="58" presetID="22" presetClass="entr" presetSubtype="4" fill="hold" nodeType="after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wipe(down)">
                                      <p:cBhvr>
                                        <p:cTn id="60" dur="500"/>
                                        <p:tgtEl>
                                          <p:spTgt spid="29"/>
                                        </p:tgtEl>
                                      </p:cBhvr>
                                    </p:animEffect>
                                  </p:childTnLst>
                                </p:cTn>
                              </p:par>
                            </p:childTnLst>
                          </p:cTn>
                        </p:par>
                        <p:par>
                          <p:cTn id="61" fill="hold">
                            <p:stCondLst>
                              <p:cond delay="8250"/>
                            </p:stCondLst>
                            <p:childTnLst>
                              <p:par>
                                <p:cTn id="62" presetID="30" presetClass="entr" presetSubtype="0" fill="hold" nodeType="after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800" decel="100000"/>
                                        <p:tgtEl>
                                          <p:spTgt spid="52"/>
                                        </p:tgtEl>
                                      </p:cBhvr>
                                    </p:animEffect>
                                    <p:anim calcmode="lin" valueType="num">
                                      <p:cBhvr>
                                        <p:cTn id="65" dur="800" decel="100000" fill="hold"/>
                                        <p:tgtEl>
                                          <p:spTgt spid="52"/>
                                        </p:tgtEl>
                                        <p:attrNameLst>
                                          <p:attrName>style.rotation</p:attrName>
                                        </p:attrNameLst>
                                      </p:cBhvr>
                                      <p:tavLst>
                                        <p:tav tm="0">
                                          <p:val>
                                            <p:fltVal val="-90"/>
                                          </p:val>
                                        </p:tav>
                                        <p:tav tm="100000">
                                          <p:val>
                                            <p:fltVal val="0"/>
                                          </p:val>
                                        </p:tav>
                                      </p:tavLst>
                                    </p:anim>
                                    <p:anim calcmode="lin" valueType="num">
                                      <p:cBhvr>
                                        <p:cTn id="66" dur="800" decel="100000" fill="hold"/>
                                        <p:tgtEl>
                                          <p:spTgt spid="52"/>
                                        </p:tgtEl>
                                        <p:attrNameLst>
                                          <p:attrName>ppt_x</p:attrName>
                                        </p:attrNameLst>
                                      </p:cBhvr>
                                      <p:tavLst>
                                        <p:tav tm="0">
                                          <p:val>
                                            <p:strVal val="#ppt_x+0.4"/>
                                          </p:val>
                                        </p:tav>
                                        <p:tav tm="100000">
                                          <p:val>
                                            <p:strVal val="#ppt_x-0.05"/>
                                          </p:val>
                                        </p:tav>
                                      </p:tavLst>
                                    </p:anim>
                                    <p:anim calcmode="lin" valueType="num">
                                      <p:cBhvr>
                                        <p:cTn id="67" dur="800" decel="100000" fill="hold"/>
                                        <p:tgtEl>
                                          <p:spTgt spid="52"/>
                                        </p:tgtEl>
                                        <p:attrNameLst>
                                          <p:attrName>ppt_y</p:attrName>
                                        </p:attrNameLst>
                                      </p:cBhvr>
                                      <p:tavLst>
                                        <p:tav tm="0">
                                          <p:val>
                                            <p:strVal val="#ppt_y-0.4"/>
                                          </p:val>
                                        </p:tav>
                                        <p:tav tm="100000">
                                          <p:val>
                                            <p:strVal val="#ppt_y+0.1"/>
                                          </p:val>
                                        </p:tav>
                                      </p:tavLst>
                                    </p:anim>
                                    <p:anim calcmode="lin" valueType="num">
                                      <p:cBhvr>
                                        <p:cTn id="68" dur="200" accel="100000" fill="hold">
                                          <p:stCondLst>
                                            <p:cond delay="800"/>
                                          </p:stCondLst>
                                        </p:cTn>
                                        <p:tgtEl>
                                          <p:spTgt spid="52"/>
                                        </p:tgtEl>
                                        <p:attrNameLst>
                                          <p:attrName>ppt_x</p:attrName>
                                        </p:attrNameLst>
                                      </p:cBhvr>
                                      <p:tavLst>
                                        <p:tav tm="0">
                                          <p:val>
                                            <p:strVal val="#ppt_x-0.05"/>
                                          </p:val>
                                        </p:tav>
                                        <p:tav tm="100000">
                                          <p:val>
                                            <p:strVal val="#ppt_x"/>
                                          </p:val>
                                        </p:tav>
                                      </p:tavLst>
                                    </p:anim>
                                    <p:anim calcmode="lin" valueType="num">
                                      <p:cBhvr>
                                        <p:cTn id="69" dur="200" accel="100000" fill="hold">
                                          <p:stCondLst>
                                            <p:cond delay="800"/>
                                          </p:stCondLst>
                                        </p:cTn>
                                        <p:tgtEl>
                                          <p:spTgt spid="52"/>
                                        </p:tgtEl>
                                        <p:attrNameLst>
                                          <p:attrName>ppt_y</p:attrName>
                                        </p:attrNameLst>
                                      </p:cBhvr>
                                      <p:tavLst>
                                        <p:tav tm="0">
                                          <p:val>
                                            <p:strVal val="#ppt_y+0.1"/>
                                          </p:val>
                                        </p:tav>
                                        <p:tav tm="100000">
                                          <p:val>
                                            <p:strVal val="#ppt_y"/>
                                          </p:val>
                                        </p:tav>
                                      </p:tavLst>
                                    </p:anim>
                                  </p:childTnLst>
                                </p:cTn>
                              </p:par>
                            </p:childTnLst>
                          </p:cTn>
                        </p:par>
                        <p:par>
                          <p:cTn id="70" fill="hold">
                            <p:stCondLst>
                              <p:cond delay="9250"/>
                            </p:stCondLst>
                            <p:childTnLst>
                              <p:par>
                                <p:cTn id="71" presetID="16" presetClass="entr" presetSubtype="37" fill="hold" grpId="0" nodeType="after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barn(outVertical)">
                                      <p:cBhvr>
                                        <p:cTn id="73" dur="500"/>
                                        <p:tgtEl>
                                          <p:spTgt spid="55"/>
                                        </p:tgtEl>
                                      </p:cBhvr>
                                    </p:animEffect>
                                  </p:childTnLst>
                                </p:cTn>
                              </p:par>
                            </p:childTnLst>
                          </p:cTn>
                        </p:par>
                        <p:par>
                          <p:cTn id="74" fill="hold">
                            <p:stCondLst>
                              <p:cond delay="9750"/>
                            </p:stCondLst>
                            <p:childTnLst>
                              <p:par>
                                <p:cTn id="75" presetID="16" presetClass="entr" presetSubtype="37" fill="hold" grpId="0" nodeType="afterEffect">
                                  <p:stCondLst>
                                    <p:cond delay="0"/>
                                  </p:stCondLst>
                                  <p:childTnLst>
                                    <p:set>
                                      <p:cBhvr>
                                        <p:cTn id="76" dur="1" fill="hold">
                                          <p:stCondLst>
                                            <p:cond delay="0"/>
                                          </p:stCondLst>
                                        </p:cTn>
                                        <p:tgtEl>
                                          <p:spTgt spid="56"/>
                                        </p:tgtEl>
                                        <p:attrNameLst>
                                          <p:attrName>style.visibility</p:attrName>
                                        </p:attrNameLst>
                                      </p:cBhvr>
                                      <p:to>
                                        <p:strVal val="visible"/>
                                      </p:to>
                                    </p:set>
                                    <p:animEffect transition="in" filter="barn(outVertical)">
                                      <p:cBhvr>
                                        <p:cTn id="77" dur="500"/>
                                        <p:tgtEl>
                                          <p:spTgt spid="56"/>
                                        </p:tgtEl>
                                      </p:cBhvr>
                                    </p:animEffect>
                                  </p:childTnLst>
                                </p:cTn>
                              </p:par>
                            </p:childTnLst>
                          </p:cTn>
                        </p:par>
                        <p:par>
                          <p:cTn id="78" fill="hold">
                            <p:stCondLst>
                              <p:cond delay="10250"/>
                            </p:stCondLst>
                            <p:childTnLst>
                              <p:par>
                                <p:cTn id="79" presetID="16" presetClass="entr" presetSubtype="37" fill="hold" grpId="0" nodeType="afterEffect">
                                  <p:stCondLst>
                                    <p:cond delay="0"/>
                                  </p:stCondLst>
                                  <p:childTnLst>
                                    <p:set>
                                      <p:cBhvr>
                                        <p:cTn id="80" dur="1" fill="hold">
                                          <p:stCondLst>
                                            <p:cond delay="0"/>
                                          </p:stCondLst>
                                        </p:cTn>
                                        <p:tgtEl>
                                          <p:spTgt spid="57"/>
                                        </p:tgtEl>
                                        <p:attrNameLst>
                                          <p:attrName>style.visibility</p:attrName>
                                        </p:attrNameLst>
                                      </p:cBhvr>
                                      <p:to>
                                        <p:strVal val="visible"/>
                                      </p:to>
                                    </p:set>
                                    <p:animEffect transition="in" filter="barn(outVertical)">
                                      <p:cBhvr>
                                        <p:cTn id="8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淘宝网chenying0907出品 1"/>
          <p:cNvSpPr>
            <a:spLocks noChangeArrowheads="1"/>
          </p:cNvSpPr>
          <p:nvPr/>
        </p:nvSpPr>
        <p:spPr bwMode="auto">
          <a:xfrm>
            <a:off x="683568" y="17093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sp>
        <p:nvSpPr>
          <p:cNvPr id="34" name="淘宝网chenying0907出品 1"/>
          <p:cNvSpPr>
            <a:spLocks noChangeArrowheads="1"/>
          </p:cNvSpPr>
          <p:nvPr/>
        </p:nvSpPr>
        <p:spPr bwMode="auto">
          <a:xfrm>
            <a:off x="971600" y="30230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sp>
        <p:nvSpPr>
          <p:cNvPr id="35" name="淘宝网chenying0907出品 1"/>
          <p:cNvSpPr>
            <a:spLocks noChangeArrowheads="1"/>
          </p:cNvSpPr>
          <p:nvPr/>
        </p:nvSpPr>
        <p:spPr bwMode="auto">
          <a:xfrm>
            <a:off x="6516216" y="3077547"/>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sp>
        <p:nvSpPr>
          <p:cNvPr id="36" name="淘宝网chenying0907出品 10"/>
          <p:cNvSpPr>
            <a:spLocks noEditPoints="1"/>
          </p:cNvSpPr>
          <p:nvPr/>
        </p:nvSpPr>
        <p:spPr bwMode="auto">
          <a:xfrm>
            <a:off x="3931709" y="2055330"/>
            <a:ext cx="1255190" cy="1296866"/>
          </a:xfrm>
          <a:custGeom>
            <a:avLst/>
            <a:gdLst>
              <a:gd name="T0" fmla="*/ 32 w 433"/>
              <a:gd name="T1" fmla="*/ 193 h 448"/>
              <a:gd name="T2" fmla="*/ 60 w 433"/>
              <a:gd name="T3" fmla="*/ 403 h 448"/>
              <a:gd name="T4" fmla="*/ 184 w 433"/>
              <a:gd name="T5" fmla="*/ 409 h 448"/>
              <a:gd name="T6" fmla="*/ 433 w 433"/>
              <a:gd name="T7" fmla="*/ 203 h 448"/>
              <a:gd name="T8" fmla="*/ 287 w 433"/>
              <a:gd name="T9" fmla="*/ 45 h 448"/>
              <a:gd name="T10" fmla="*/ 424 w 433"/>
              <a:gd name="T11" fmla="*/ 170 h 448"/>
              <a:gd name="T12" fmla="*/ 277 w 433"/>
              <a:gd name="T13" fmla="*/ 143 h 448"/>
              <a:gd name="T14" fmla="*/ 277 w 433"/>
              <a:gd name="T15" fmla="*/ 24 h 448"/>
              <a:gd name="T16" fmla="*/ 424 w 433"/>
              <a:gd name="T17" fmla="*/ 105 h 448"/>
              <a:gd name="T18" fmla="*/ 239 w 433"/>
              <a:gd name="T19" fmla="*/ 395 h 448"/>
              <a:gd name="T20" fmla="*/ 339 w 433"/>
              <a:gd name="T21" fmla="*/ 230 h 448"/>
              <a:gd name="T22" fmla="*/ 276 w 433"/>
              <a:gd name="T23" fmla="*/ 230 h 448"/>
              <a:gd name="T24" fmla="*/ 83 w 433"/>
              <a:gd name="T25" fmla="*/ 230 h 448"/>
              <a:gd name="T26" fmla="*/ 55 w 433"/>
              <a:gd name="T27" fmla="*/ 295 h 448"/>
              <a:gd name="T28" fmla="*/ 156 w 433"/>
              <a:gd name="T29" fmla="*/ 220 h 448"/>
              <a:gd name="T30" fmla="*/ 169 w 433"/>
              <a:gd name="T31" fmla="*/ 107 h 448"/>
              <a:gd name="T32" fmla="*/ 157 w 433"/>
              <a:gd name="T33" fmla="*/ 260 h 448"/>
              <a:gd name="T34" fmla="*/ 104 w 433"/>
              <a:gd name="T35" fmla="*/ 296 h 448"/>
              <a:gd name="T36" fmla="*/ 166 w 433"/>
              <a:gd name="T37" fmla="*/ 230 h 448"/>
              <a:gd name="T38" fmla="*/ 232 w 433"/>
              <a:gd name="T39" fmla="*/ 338 h 448"/>
              <a:gd name="T40" fmla="*/ 193 w 433"/>
              <a:gd name="T41" fmla="*/ 54 h 448"/>
              <a:gd name="T42" fmla="*/ 133 w 433"/>
              <a:gd name="T43" fmla="*/ 82 h 448"/>
              <a:gd name="T44" fmla="*/ 133 w 433"/>
              <a:gd name="T45" fmla="*/ 82 h 448"/>
              <a:gd name="T46" fmla="*/ 271 w 433"/>
              <a:gd name="T47" fmla="*/ 392 h 448"/>
              <a:gd name="T48" fmla="*/ 126 w 433"/>
              <a:gd name="T49" fmla="*/ 90 h 448"/>
              <a:gd name="T50" fmla="*/ 113 w 433"/>
              <a:gd name="T51" fmla="*/ 83 h 448"/>
              <a:gd name="T52" fmla="*/ 243 w 433"/>
              <a:gd name="T53" fmla="*/ 349 h 448"/>
              <a:gd name="T54" fmla="*/ 216 w 433"/>
              <a:gd name="T55" fmla="*/ 400 h 448"/>
              <a:gd name="T56" fmla="*/ 319 w 433"/>
              <a:gd name="T57" fmla="*/ 367 h 448"/>
              <a:gd name="T58" fmla="*/ 392 w 433"/>
              <a:gd name="T59" fmla="*/ 230 h 448"/>
              <a:gd name="T60" fmla="*/ 349 w 433"/>
              <a:gd name="T61" fmla="*/ 220 h 448"/>
              <a:gd name="T62" fmla="*/ 376 w 433"/>
              <a:gd name="T63" fmla="*/ 153 h 448"/>
              <a:gd name="T64" fmla="*/ 276 w 433"/>
              <a:gd name="T65" fmla="*/ 220 h 448"/>
              <a:gd name="T66" fmla="*/ 287 w 433"/>
              <a:gd name="T67" fmla="*/ 153 h 448"/>
              <a:gd name="T68" fmla="*/ 266 w 433"/>
              <a:gd name="T69" fmla="*/ 220 h 448"/>
              <a:gd name="T70" fmla="*/ 204 w 433"/>
              <a:gd name="T71" fmla="*/ 112 h 448"/>
              <a:gd name="T72" fmla="*/ 182 w 433"/>
              <a:gd name="T73" fmla="*/ 100 h 448"/>
              <a:gd name="T74" fmla="*/ 191 w 433"/>
              <a:gd name="T75" fmla="*/ 99 h 448"/>
              <a:gd name="T76" fmla="*/ 40 w 433"/>
              <a:gd name="T77" fmla="*/ 287 h 448"/>
              <a:gd name="T78" fmla="*/ 33 w 433"/>
              <a:gd name="T79" fmla="*/ 287 h 448"/>
              <a:gd name="T80" fmla="*/ 29 w 433"/>
              <a:gd name="T81" fmla="*/ 285 h 448"/>
              <a:gd name="T82" fmla="*/ 25 w 433"/>
              <a:gd name="T83" fmla="*/ 281 h 448"/>
              <a:gd name="T84" fmla="*/ 21 w 433"/>
              <a:gd name="T85" fmla="*/ 278 h 448"/>
              <a:gd name="T86" fmla="*/ 19 w 433"/>
              <a:gd name="T87" fmla="*/ 274 h 448"/>
              <a:gd name="T88" fmla="*/ 16 w 433"/>
              <a:gd name="T89" fmla="*/ 269 h 448"/>
              <a:gd name="T90" fmla="*/ 14 w 433"/>
              <a:gd name="T91" fmla="*/ 265 h 448"/>
              <a:gd name="T92" fmla="*/ 12 w 433"/>
              <a:gd name="T93" fmla="*/ 260 h 448"/>
              <a:gd name="T94" fmla="*/ 11 w 433"/>
              <a:gd name="T95" fmla="*/ 255 h 448"/>
              <a:gd name="T96" fmla="*/ 10 w 433"/>
              <a:gd name="T97" fmla="*/ 250 h 448"/>
              <a:gd name="T98" fmla="*/ 30 w 433"/>
              <a:gd name="T99" fmla="*/ 20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3" h="448">
                <a:moveTo>
                  <a:pt x="248" y="41"/>
                </a:moveTo>
                <a:cubicBezTo>
                  <a:pt x="237" y="39"/>
                  <a:pt x="227" y="38"/>
                  <a:pt x="216" y="38"/>
                </a:cubicBezTo>
                <a:cubicBezTo>
                  <a:pt x="124" y="38"/>
                  <a:pt x="47" y="105"/>
                  <a:pt x="32" y="193"/>
                </a:cubicBezTo>
                <a:cubicBezTo>
                  <a:pt x="13" y="203"/>
                  <a:pt x="0" y="223"/>
                  <a:pt x="0" y="245"/>
                </a:cubicBezTo>
                <a:cubicBezTo>
                  <a:pt x="0" y="343"/>
                  <a:pt x="0" y="343"/>
                  <a:pt x="0" y="343"/>
                </a:cubicBezTo>
                <a:cubicBezTo>
                  <a:pt x="0" y="376"/>
                  <a:pt x="27" y="403"/>
                  <a:pt x="60" y="403"/>
                </a:cubicBezTo>
                <a:cubicBezTo>
                  <a:pt x="147" y="403"/>
                  <a:pt x="147" y="403"/>
                  <a:pt x="147" y="403"/>
                </a:cubicBezTo>
                <a:cubicBezTo>
                  <a:pt x="147" y="448"/>
                  <a:pt x="147" y="448"/>
                  <a:pt x="147" y="448"/>
                </a:cubicBezTo>
                <a:cubicBezTo>
                  <a:pt x="184" y="409"/>
                  <a:pt x="184" y="409"/>
                  <a:pt x="184" y="409"/>
                </a:cubicBezTo>
                <a:cubicBezTo>
                  <a:pt x="195" y="411"/>
                  <a:pt x="205" y="412"/>
                  <a:pt x="216" y="412"/>
                </a:cubicBezTo>
                <a:cubicBezTo>
                  <a:pt x="308" y="412"/>
                  <a:pt x="385" y="344"/>
                  <a:pt x="400" y="256"/>
                </a:cubicBezTo>
                <a:cubicBezTo>
                  <a:pt x="420" y="247"/>
                  <a:pt x="433" y="226"/>
                  <a:pt x="433" y="203"/>
                </a:cubicBezTo>
                <a:cubicBezTo>
                  <a:pt x="433" y="105"/>
                  <a:pt x="433" y="105"/>
                  <a:pt x="433" y="105"/>
                </a:cubicBezTo>
                <a:cubicBezTo>
                  <a:pt x="433" y="72"/>
                  <a:pt x="407" y="45"/>
                  <a:pt x="374" y="45"/>
                </a:cubicBezTo>
                <a:cubicBezTo>
                  <a:pt x="287" y="45"/>
                  <a:pt x="287" y="45"/>
                  <a:pt x="287" y="45"/>
                </a:cubicBezTo>
                <a:cubicBezTo>
                  <a:pt x="287" y="0"/>
                  <a:pt x="287" y="0"/>
                  <a:pt x="287" y="0"/>
                </a:cubicBezTo>
                <a:lnTo>
                  <a:pt x="248" y="41"/>
                </a:lnTo>
                <a:close/>
                <a:moveTo>
                  <a:pt x="424" y="170"/>
                </a:moveTo>
                <a:cubicBezTo>
                  <a:pt x="418" y="162"/>
                  <a:pt x="411" y="155"/>
                  <a:pt x="401" y="150"/>
                </a:cubicBezTo>
                <a:cubicBezTo>
                  <a:pt x="393" y="145"/>
                  <a:pt x="383" y="143"/>
                  <a:pt x="374" y="143"/>
                </a:cubicBezTo>
                <a:cubicBezTo>
                  <a:pt x="277" y="143"/>
                  <a:pt x="277" y="143"/>
                  <a:pt x="277" y="143"/>
                </a:cubicBezTo>
                <a:cubicBezTo>
                  <a:pt x="277" y="174"/>
                  <a:pt x="277" y="174"/>
                  <a:pt x="277" y="174"/>
                </a:cubicBezTo>
                <a:cubicBezTo>
                  <a:pt x="204" y="99"/>
                  <a:pt x="204" y="99"/>
                  <a:pt x="204" y="99"/>
                </a:cubicBezTo>
                <a:cubicBezTo>
                  <a:pt x="277" y="24"/>
                  <a:pt x="277" y="24"/>
                  <a:pt x="277" y="24"/>
                </a:cubicBezTo>
                <a:cubicBezTo>
                  <a:pt x="277" y="55"/>
                  <a:pt x="277" y="55"/>
                  <a:pt x="277" y="55"/>
                </a:cubicBezTo>
                <a:cubicBezTo>
                  <a:pt x="374" y="55"/>
                  <a:pt x="374" y="55"/>
                  <a:pt x="374" y="55"/>
                </a:cubicBezTo>
                <a:cubicBezTo>
                  <a:pt x="401" y="55"/>
                  <a:pt x="424" y="78"/>
                  <a:pt x="424" y="105"/>
                </a:cubicBezTo>
                <a:lnTo>
                  <a:pt x="424" y="170"/>
                </a:lnTo>
                <a:close/>
                <a:moveTo>
                  <a:pt x="290" y="363"/>
                </a:moveTo>
                <a:cubicBezTo>
                  <a:pt x="275" y="379"/>
                  <a:pt x="258" y="390"/>
                  <a:pt x="239" y="395"/>
                </a:cubicBezTo>
                <a:cubicBezTo>
                  <a:pt x="247" y="386"/>
                  <a:pt x="254" y="371"/>
                  <a:pt x="260" y="352"/>
                </a:cubicBezTo>
                <a:cubicBezTo>
                  <a:pt x="270" y="355"/>
                  <a:pt x="281" y="358"/>
                  <a:pt x="290" y="363"/>
                </a:cubicBezTo>
                <a:close/>
                <a:moveTo>
                  <a:pt x="339" y="230"/>
                </a:moveTo>
                <a:cubicBezTo>
                  <a:pt x="338" y="278"/>
                  <a:pt x="323" y="323"/>
                  <a:pt x="297" y="355"/>
                </a:cubicBezTo>
                <a:cubicBezTo>
                  <a:pt x="286" y="350"/>
                  <a:pt x="275" y="346"/>
                  <a:pt x="263" y="343"/>
                </a:cubicBezTo>
                <a:cubicBezTo>
                  <a:pt x="271" y="311"/>
                  <a:pt x="276" y="272"/>
                  <a:pt x="276" y="230"/>
                </a:cubicBezTo>
                <a:lnTo>
                  <a:pt x="339" y="230"/>
                </a:lnTo>
                <a:close/>
                <a:moveTo>
                  <a:pt x="41" y="230"/>
                </a:moveTo>
                <a:cubicBezTo>
                  <a:pt x="83" y="230"/>
                  <a:pt x="83" y="230"/>
                  <a:pt x="83" y="230"/>
                </a:cubicBezTo>
                <a:cubicBezTo>
                  <a:pt x="84" y="253"/>
                  <a:pt x="87" y="275"/>
                  <a:pt x="94" y="296"/>
                </a:cubicBezTo>
                <a:cubicBezTo>
                  <a:pt x="60" y="296"/>
                  <a:pt x="60" y="296"/>
                  <a:pt x="60" y="296"/>
                </a:cubicBezTo>
                <a:cubicBezTo>
                  <a:pt x="58" y="296"/>
                  <a:pt x="57" y="295"/>
                  <a:pt x="55" y="295"/>
                </a:cubicBezTo>
                <a:cubicBezTo>
                  <a:pt x="46" y="275"/>
                  <a:pt x="41" y="253"/>
                  <a:pt x="41" y="230"/>
                </a:cubicBezTo>
                <a:close/>
                <a:moveTo>
                  <a:pt x="169" y="107"/>
                </a:moveTo>
                <a:cubicBezTo>
                  <a:pt x="161" y="139"/>
                  <a:pt x="156" y="178"/>
                  <a:pt x="156" y="220"/>
                </a:cubicBezTo>
                <a:cubicBezTo>
                  <a:pt x="93" y="220"/>
                  <a:pt x="93" y="220"/>
                  <a:pt x="93" y="220"/>
                </a:cubicBezTo>
                <a:cubicBezTo>
                  <a:pt x="94" y="172"/>
                  <a:pt x="109" y="127"/>
                  <a:pt x="135" y="95"/>
                </a:cubicBezTo>
                <a:cubicBezTo>
                  <a:pt x="146" y="100"/>
                  <a:pt x="158" y="104"/>
                  <a:pt x="169" y="107"/>
                </a:cubicBezTo>
                <a:close/>
                <a:moveTo>
                  <a:pt x="93" y="230"/>
                </a:moveTo>
                <a:cubicBezTo>
                  <a:pt x="156" y="230"/>
                  <a:pt x="156" y="230"/>
                  <a:pt x="156" y="230"/>
                </a:cubicBezTo>
                <a:cubicBezTo>
                  <a:pt x="156" y="240"/>
                  <a:pt x="156" y="250"/>
                  <a:pt x="157" y="260"/>
                </a:cubicBezTo>
                <a:cubicBezTo>
                  <a:pt x="147" y="250"/>
                  <a:pt x="147" y="250"/>
                  <a:pt x="147" y="250"/>
                </a:cubicBezTo>
                <a:cubicBezTo>
                  <a:pt x="147" y="296"/>
                  <a:pt x="147" y="296"/>
                  <a:pt x="147" y="296"/>
                </a:cubicBezTo>
                <a:cubicBezTo>
                  <a:pt x="104" y="296"/>
                  <a:pt x="104" y="296"/>
                  <a:pt x="104" y="296"/>
                </a:cubicBezTo>
                <a:cubicBezTo>
                  <a:pt x="98" y="275"/>
                  <a:pt x="94" y="253"/>
                  <a:pt x="93" y="230"/>
                </a:cubicBezTo>
                <a:close/>
                <a:moveTo>
                  <a:pt x="168" y="272"/>
                </a:moveTo>
                <a:cubicBezTo>
                  <a:pt x="167" y="258"/>
                  <a:pt x="166" y="244"/>
                  <a:pt x="166" y="230"/>
                </a:cubicBezTo>
                <a:cubicBezTo>
                  <a:pt x="266" y="230"/>
                  <a:pt x="266" y="230"/>
                  <a:pt x="266" y="230"/>
                </a:cubicBezTo>
                <a:cubicBezTo>
                  <a:pt x="266" y="271"/>
                  <a:pt x="261" y="310"/>
                  <a:pt x="253" y="340"/>
                </a:cubicBezTo>
                <a:cubicBezTo>
                  <a:pt x="246" y="339"/>
                  <a:pt x="239" y="338"/>
                  <a:pt x="232" y="338"/>
                </a:cubicBezTo>
                <a:lnTo>
                  <a:pt x="168" y="272"/>
                </a:lnTo>
                <a:close/>
                <a:moveTo>
                  <a:pt x="142" y="87"/>
                </a:moveTo>
                <a:cubicBezTo>
                  <a:pt x="157" y="70"/>
                  <a:pt x="175" y="59"/>
                  <a:pt x="193" y="54"/>
                </a:cubicBezTo>
                <a:cubicBezTo>
                  <a:pt x="185" y="64"/>
                  <a:pt x="178" y="79"/>
                  <a:pt x="172" y="97"/>
                </a:cubicBezTo>
                <a:cubicBezTo>
                  <a:pt x="162" y="95"/>
                  <a:pt x="151" y="91"/>
                  <a:pt x="142" y="87"/>
                </a:cubicBezTo>
                <a:close/>
                <a:moveTo>
                  <a:pt x="133" y="82"/>
                </a:moveTo>
                <a:cubicBezTo>
                  <a:pt x="129" y="81"/>
                  <a:pt x="126" y="79"/>
                  <a:pt x="122" y="76"/>
                </a:cubicBezTo>
                <a:cubicBezTo>
                  <a:pt x="134" y="69"/>
                  <a:pt x="147" y="63"/>
                  <a:pt x="161" y="58"/>
                </a:cubicBezTo>
                <a:cubicBezTo>
                  <a:pt x="151" y="64"/>
                  <a:pt x="141" y="73"/>
                  <a:pt x="133" y="82"/>
                </a:cubicBezTo>
                <a:close/>
                <a:moveTo>
                  <a:pt x="300" y="367"/>
                </a:moveTo>
                <a:cubicBezTo>
                  <a:pt x="303" y="369"/>
                  <a:pt x="306" y="371"/>
                  <a:pt x="310" y="373"/>
                </a:cubicBezTo>
                <a:cubicBezTo>
                  <a:pt x="298" y="381"/>
                  <a:pt x="285" y="387"/>
                  <a:pt x="271" y="392"/>
                </a:cubicBezTo>
                <a:cubicBezTo>
                  <a:pt x="282" y="385"/>
                  <a:pt x="291" y="377"/>
                  <a:pt x="300" y="367"/>
                </a:cubicBezTo>
                <a:close/>
                <a:moveTo>
                  <a:pt x="113" y="83"/>
                </a:moveTo>
                <a:cubicBezTo>
                  <a:pt x="117" y="85"/>
                  <a:pt x="122" y="88"/>
                  <a:pt x="126" y="90"/>
                </a:cubicBezTo>
                <a:cubicBezTo>
                  <a:pt x="100" y="124"/>
                  <a:pt x="84" y="171"/>
                  <a:pt x="83" y="220"/>
                </a:cubicBezTo>
                <a:cubicBezTo>
                  <a:pt x="41" y="220"/>
                  <a:pt x="41" y="220"/>
                  <a:pt x="41" y="220"/>
                </a:cubicBezTo>
                <a:cubicBezTo>
                  <a:pt x="42" y="166"/>
                  <a:pt x="69" y="114"/>
                  <a:pt x="113" y="83"/>
                </a:cubicBezTo>
                <a:close/>
                <a:moveTo>
                  <a:pt x="202" y="391"/>
                </a:moveTo>
                <a:cubicBezTo>
                  <a:pt x="243" y="349"/>
                  <a:pt x="243" y="349"/>
                  <a:pt x="243" y="349"/>
                </a:cubicBezTo>
                <a:cubicBezTo>
                  <a:pt x="243" y="349"/>
                  <a:pt x="243" y="349"/>
                  <a:pt x="243" y="349"/>
                </a:cubicBezTo>
                <a:cubicBezTo>
                  <a:pt x="245" y="349"/>
                  <a:pt x="248" y="350"/>
                  <a:pt x="250" y="350"/>
                </a:cubicBezTo>
                <a:cubicBezTo>
                  <a:pt x="241" y="380"/>
                  <a:pt x="228" y="398"/>
                  <a:pt x="216" y="398"/>
                </a:cubicBezTo>
                <a:cubicBezTo>
                  <a:pt x="216" y="400"/>
                  <a:pt x="216" y="400"/>
                  <a:pt x="216" y="400"/>
                </a:cubicBezTo>
                <a:cubicBezTo>
                  <a:pt x="216" y="398"/>
                  <a:pt x="216" y="398"/>
                  <a:pt x="216" y="398"/>
                </a:cubicBezTo>
                <a:cubicBezTo>
                  <a:pt x="212" y="398"/>
                  <a:pt x="207" y="396"/>
                  <a:pt x="202" y="391"/>
                </a:cubicBezTo>
                <a:close/>
                <a:moveTo>
                  <a:pt x="319" y="367"/>
                </a:moveTo>
                <a:cubicBezTo>
                  <a:pt x="315" y="364"/>
                  <a:pt x="311" y="362"/>
                  <a:pt x="306" y="359"/>
                </a:cubicBezTo>
                <a:cubicBezTo>
                  <a:pt x="332" y="326"/>
                  <a:pt x="348" y="279"/>
                  <a:pt x="349" y="230"/>
                </a:cubicBezTo>
                <a:cubicBezTo>
                  <a:pt x="392" y="230"/>
                  <a:pt x="392" y="230"/>
                  <a:pt x="392" y="230"/>
                </a:cubicBezTo>
                <a:cubicBezTo>
                  <a:pt x="390" y="284"/>
                  <a:pt x="363" y="335"/>
                  <a:pt x="319" y="367"/>
                </a:cubicBezTo>
                <a:close/>
                <a:moveTo>
                  <a:pt x="392" y="220"/>
                </a:moveTo>
                <a:cubicBezTo>
                  <a:pt x="349" y="220"/>
                  <a:pt x="349" y="220"/>
                  <a:pt x="349" y="220"/>
                </a:cubicBezTo>
                <a:cubicBezTo>
                  <a:pt x="348" y="197"/>
                  <a:pt x="345" y="174"/>
                  <a:pt x="338" y="153"/>
                </a:cubicBezTo>
                <a:cubicBezTo>
                  <a:pt x="374" y="153"/>
                  <a:pt x="374" y="153"/>
                  <a:pt x="374" y="153"/>
                </a:cubicBezTo>
                <a:cubicBezTo>
                  <a:pt x="374" y="153"/>
                  <a:pt x="375" y="153"/>
                  <a:pt x="376" y="153"/>
                </a:cubicBezTo>
                <a:cubicBezTo>
                  <a:pt x="386" y="174"/>
                  <a:pt x="391" y="197"/>
                  <a:pt x="392" y="220"/>
                </a:cubicBezTo>
                <a:close/>
                <a:moveTo>
                  <a:pt x="339" y="220"/>
                </a:moveTo>
                <a:cubicBezTo>
                  <a:pt x="276" y="220"/>
                  <a:pt x="276" y="220"/>
                  <a:pt x="276" y="220"/>
                </a:cubicBezTo>
                <a:cubicBezTo>
                  <a:pt x="276" y="208"/>
                  <a:pt x="276" y="197"/>
                  <a:pt x="275" y="186"/>
                </a:cubicBezTo>
                <a:cubicBezTo>
                  <a:pt x="287" y="198"/>
                  <a:pt x="287" y="198"/>
                  <a:pt x="287" y="198"/>
                </a:cubicBezTo>
                <a:cubicBezTo>
                  <a:pt x="287" y="153"/>
                  <a:pt x="287" y="153"/>
                  <a:pt x="287" y="153"/>
                </a:cubicBezTo>
                <a:cubicBezTo>
                  <a:pt x="328" y="153"/>
                  <a:pt x="328" y="153"/>
                  <a:pt x="328" y="153"/>
                </a:cubicBezTo>
                <a:cubicBezTo>
                  <a:pt x="334" y="174"/>
                  <a:pt x="338" y="196"/>
                  <a:pt x="339" y="220"/>
                </a:cubicBezTo>
                <a:close/>
                <a:moveTo>
                  <a:pt x="266" y="220"/>
                </a:moveTo>
                <a:cubicBezTo>
                  <a:pt x="166" y="220"/>
                  <a:pt x="166" y="220"/>
                  <a:pt x="166" y="220"/>
                </a:cubicBezTo>
                <a:cubicBezTo>
                  <a:pt x="166" y="178"/>
                  <a:pt x="171" y="140"/>
                  <a:pt x="179" y="109"/>
                </a:cubicBezTo>
                <a:cubicBezTo>
                  <a:pt x="187" y="111"/>
                  <a:pt x="195" y="112"/>
                  <a:pt x="204" y="112"/>
                </a:cubicBezTo>
                <a:cubicBezTo>
                  <a:pt x="264" y="175"/>
                  <a:pt x="264" y="175"/>
                  <a:pt x="264" y="175"/>
                </a:cubicBezTo>
                <a:cubicBezTo>
                  <a:pt x="265" y="189"/>
                  <a:pt x="266" y="204"/>
                  <a:pt x="266" y="220"/>
                </a:cubicBezTo>
                <a:close/>
                <a:moveTo>
                  <a:pt x="182" y="100"/>
                </a:moveTo>
                <a:cubicBezTo>
                  <a:pt x="192" y="69"/>
                  <a:pt x="204" y="51"/>
                  <a:pt x="216" y="51"/>
                </a:cubicBezTo>
                <a:cubicBezTo>
                  <a:pt x="221" y="51"/>
                  <a:pt x="225" y="54"/>
                  <a:pt x="230" y="59"/>
                </a:cubicBezTo>
                <a:cubicBezTo>
                  <a:pt x="191" y="99"/>
                  <a:pt x="191" y="99"/>
                  <a:pt x="191" y="99"/>
                </a:cubicBezTo>
                <a:cubicBezTo>
                  <a:pt x="193" y="101"/>
                  <a:pt x="193" y="101"/>
                  <a:pt x="193" y="101"/>
                </a:cubicBezTo>
                <a:cubicBezTo>
                  <a:pt x="189" y="101"/>
                  <a:pt x="186" y="100"/>
                  <a:pt x="182" y="100"/>
                </a:cubicBezTo>
                <a:close/>
                <a:moveTo>
                  <a:pt x="40" y="287"/>
                </a:moveTo>
                <a:cubicBezTo>
                  <a:pt x="38" y="287"/>
                  <a:pt x="36" y="288"/>
                  <a:pt x="35" y="289"/>
                </a:cubicBezTo>
                <a:cubicBezTo>
                  <a:pt x="35" y="289"/>
                  <a:pt x="34" y="288"/>
                  <a:pt x="34" y="288"/>
                </a:cubicBezTo>
                <a:cubicBezTo>
                  <a:pt x="34" y="288"/>
                  <a:pt x="33" y="288"/>
                  <a:pt x="33" y="287"/>
                </a:cubicBezTo>
                <a:cubicBezTo>
                  <a:pt x="32" y="287"/>
                  <a:pt x="32" y="287"/>
                  <a:pt x="31" y="287"/>
                </a:cubicBezTo>
                <a:cubicBezTo>
                  <a:pt x="31" y="286"/>
                  <a:pt x="30" y="286"/>
                  <a:pt x="30" y="286"/>
                </a:cubicBezTo>
                <a:cubicBezTo>
                  <a:pt x="30" y="285"/>
                  <a:pt x="29" y="285"/>
                  <a:pt x="29" y="285"/>
                </a:cubicBezTo>
                <a:cubicBezTo>
                  <a:pt x="28" y="284"/>
                  <a:pt x="28" y="284"/>
                  <a:pt x="27" y="284"/>
                </a:cubicBezTo>
                <a:cubicBezTo>
                  <a:pt x="27" y="283"/>
                  <a:pt x="27" y="283"/>
                  <a:pt x="26" y="282"/>
                </a:cubicBezTo>
                <a:cubicBezTo>
                  <a:pt x="26" y="282"/>
                  <a:pt x="25" y="282"/>
                  <a:pt x="25" y="281"/>
                </a:cubicBezTo>
                <a:cubicBezTo>
                  <a:pt x="25" y="281"/>
                  <a:pt x="24" y="280"/>
                  <a:pt x="24" y="280"/>
                </a:cubicBezTo>
                <a:cubicBezTo>
                  <a:pt x="23" y="280"/>
                  <a:pt x="23" y="279"/>
                  <a:pt x="23" y="279"/>
                </a:cubicBezTo>
                <a:cubicBezTo>
                  <a:pt x="22" y="278"/>
                  <a:pt x="22" y="278"/>
                  <a:pt x="21" y="278"/>
                </a:cubicBezTo>
                <a:cubicBezTo>
                  <a:pt x="21" y="277"/>
                  <a:pt x="21" y="277"/>
                  <a:pt x="21" y="276"/>
                </a:cubicBezTo>
                <a:cubicBezTo>
                  <a:pt x="20" y="276"/>
                  <a:pt x="20" y="275"/>
                  <a:pt x="19" y="275"/>
                </a:cubicBezTo>
                <a:cubicBezTo>
                  <a:pt x="19" y="274"/>
                  <a:pt x="19" y="274"/>
                  <a:pt x="19" y="274"/>
                </a:cubicBezTo>
                <a:cubicBezTo>
                  <a:pt x="18" y="273"/>
                  <a:pt x="18" y="273"/>
                  <a:pt x="18" y="272"/>
                </a:cubicBezTo>
                <a:cubicBezTo>
                  <a:pt x="17" y="272"/>
                  <a:pt x="17" y="271"/>
                  <a:pt x="17" y="271"/>
                </a:cubicBezTo>
                <a:cubicBezTo>
                  <a:pt x="16" y="270"/>
                  <a:pt x="16" y="270"/>
                  <a:pt x="16" y="269"/>
                </a:cubicBezTo>
                <a:cubicBezTo>
                  <a:pt x="16" y="269"/>
                  <a:pt x="15" y="268"/>
                  <a:pt x="15" y="268"/>
                </a:cubicBezTo>
                <a:cubicBezTo>
                  <a:pt x="15" y="267"/>
                  <a:pt x="15" y="267"/>
                  <a:pt x="14" y="266"/>
                </a:cubicBezTo>
                <a:cubicBezTo>
                  <a:pt x="14" y="266"/>
                  <a:pt x="14" y="265"/>
                  <a:pt x="14" y="265"/>
                </a:cubicBezTo>
                <a:cubicBezTo>
                  <a:pt x="14" y="264"/>
                  <a:pt x="13" y="264"/>
                  <a:pt x="13" y="263"/>
                </a:cubicBezTo>
                <a:cubicBezTo>
                  <a:pt x="13" y="263"/>
                  <a:pt x="13" y="262"/>
                  <a:pt x="13" y="262"/>
                </a:cubicBezTo>
                <a:cubicBezTo>
                  <a:pt x="12" y="261"/>
                  <a:pt x="12" y="261"/>
                  <a:pt x="12" y="260"/>
                </a:cubicBezTo>
                <a:cubicBezTo>
                  <a:pt x="12" y="260"/>
                  <a:pt x="12" y="259"/>
                  <a:pt x="12" y="259"/>
                </a:cubicBezTo>
                <a:cubicBezTo>
                  <a:pt x="11" y="258"/>
                  <a:pt x="11" y="257"/>
                  <a:pt x="11" y="257"/>
                </a:cubicBezTo>
                <a:cubicBezTo>
                  <a:pt x="11" y="256"/>
                  <a:pt x="11" y="256"/>
                  <a:pt x="11" y="255"/>
                </a:cubicBezTo>
                <a:cubicBezTo>
                  <a:pt x="11" y="255"/>
                  <a:pt x="11" y="254"/>
                  <a:pt x="11" y="253"/>
                </a:cubicBezTo>
                <a:cubicBezTo>
                  <a:pt x="10" y="253"/>
                  <a:pt x="10" y="253"/>
                  <a:pt x="10" y="252"/>
                </a:cubicBezTo>
                <a:cubicBezTo>
                  <a:pt x="10" y="251"/>
                  <a:pt x="10" y="251"/>
                  <a:pt x="10" y="250"/>
                </a:cubicBezTo>
                <a:cubicBezTo>
                  <a:pt x="10" y="250"/>
                  <a:pt x="10" y="249"/>
                  <a:pt x="10" y="249"/>
                </a:cubicBezTo>
                <a:cubicBezTo>
                  <a:pt x="10" y="248"/>
                  <a:pt x="10" y="247"/>
                  <a:pt x="10" y="245"/>
                </a:cubicBezTo>
                <a:cubicBezTo>
                  <a:pt x="10" y="229"/>
                  <a:pt x="18" y="214"/>
                  <a:pt x="30" y="205"/>
                </a:cubicBezTo>
                <a:cubicBezTo>
                  <a:pt x="29" y="212"/>
                  <a:pt x="29" y="218"/>
                  <a:pt x="29" y="225"/>
                </a:cubicBezTo>
                <a:cubicBezTo>
                  <a:pt x="29" y="247"/>
                  <a:pt x="33" y="267"/>
                  <a:pt x="40" y="287"/>
                </a:cubicBezTo>
                <a:close/>
              </a:path>
            </a:pathLst>
          </a:custGeom>
          <a:solidFill>
            <a:srgbClr val="0427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37" name="淘宝网chenying0907出品 46"/>
          <p:cNvGrpSpPr/>
          <p:nvPr/>
        </p:nvGrpSpPr>
        <p:grpSpPr>
          <a:xfrm>
            <a:off x="2588942" y="1565576"/>
            <a:ext cx="1420569" cy="878813"/>
            <a:chOff x="2378075" y="1489075"/>
            <a:chExt cx="1465263" cy="906463"/>
          </a:xfrm>
        </p:grpSpPr>
        <p:sp>
          <p:nvSpPr>
            <p:cNvPr id="38" name="淘宝网chenying0907出品 15"/>
            <p:cNvSpPr/>
            <p:nvPr/>
          </p:nvSpPr>
          <p:spPr bwMode="auto">
            <a:xfrm>
              <a:off x="2378075" y="1489075"/>
              <a:ext cx="1465263" cy="906463"/>
            </a:xfrm>
            <a:custGeom>
              <a:avLst/>
              <a:gdLst>
                <a:gd name="T0" fmla="*/ 391 w 391"/>
                <a:gd name="T1" fmla="*/ 221 h 242"/>
                <a:gd name="T2" fmla="*/ 237 w 391"/>
                <a:gd name="T3" fmla="*/ 154 h 242"/>
                <a:gd name="T4" fmla="*/ 242 w 391"/>
                <a:gd name="T5" fmla="*/ 121 h 242"/>
                <a:gd name="T6" fmla="*/ 121 w 391"/>
                <a:gd name="T7" fmla="*/ 0 h 242"/>
                <a:gd name="T8" fmla="*/ 0 w 391"/>
                <a:gd name="T9" fmla="*/ 121 h 242"/>
                <a:gd name="T10" fmla="*/ 121 w 391"/>
                <a:gd name="T11" fmla="*/ 242 h 242"/>
                <a:gd name="T12" fmla="*/ 224 w 391"/>
                <a:gd name="T13" fmla="*/ 184 h 242"/>
                <a:gd name="T14" fmla="*/ 391 w 391"/>
                <a:gd name="T15" fmla="*/ 221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242">
                  <a:moveTo>
                    <a:pt x="391" y="221"/>
                  </a:moveTo>
                  <a:cubicBezTo>
                    <a:pt x="237" y="154"/>
                    <a:pt x="237" y="154"/>
                    <a:pt x="237" y="154"/>
                  </a:cubicBezTo>
                  <a:cubicBezTo>
                    <a:pt x="240" y="144"/>
                    <a:pt x="242" y="133"/>
                    <a:pt x="242" y="121"/>
                  </a:cubicBezTo>
                  <a:cubicBezTo>
                    <a:pt x="242" y="54"/>
                    <a:pt x="187" y="0"/>
                    <a:pt x="121" y="0"/>
                  </a:cubicBezTo>
                  <a:cubicBezTo>
                    <a:pt x="54" y="0"/>
                    <a:pt x="0" y="54"/>
                    <a:pt x="0" y="121"/>
                  </a:cubicBezTo>
                  <a:cubicBezTo>
                    <a:pt x="0" y="188"/>
                    <a:pt x="54" y="242"/>
                    <a:pt x="121" y="242"/>
                  </a:cubicBezTo>
                  <a:cubicBezTo>
                    <a:pt x="165" y="242"/>
                    <a:pt x="203" y="219"/>
                    <a:pt x="224" y="184"/>
                  </a:cubicBezTo>
                  <a:lnTo>
                    <a:pt x="391" y="221"/>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淘宝网chenying0907出品 16"/>
            <p:cNvSpPr>
              <a:spLocks noEditPoints="1"/>
            </p:cNvSpPr>
            <p:nvPr/>
          </p:nvSpPr>
          <p:spPr bwMode="auto">
            <a:xfrm>
              <a:off x="2606675" y="1720850"/>
              <a:ext cx="446088" cy="442913"/>
            </a:xfrm>
            <a:custGeom>
              <a:avLst/>
              <a:gdLst>
                <a:gd name="T0" fmla="*/ 82 w 119"/>
                <a:gd name="T1" fmla="*/ 118 h 118"/>
                <a:gd name="T2" fmla="*/ 87 w 119"/>
                <a:gd name="T3" fmla="*/ 106 h 118"/>
                <a:gd name="T4" fmla="*/ 96 w 119"/>
                <a:gd name="T5" fmla="*/ 106 h 118"/>
                <a:gd name="T6" fmla="*/ 119 w 119"/>
                <a:gd name="T7" fmla="*/ 82 h 118"/>
                <a:gd name="T8" fmla="*/ 119 w 119"/>
                <a:gd name="T9" fmla="*/ 59 h 118"/>
                <a:gd name="T10" fmla="*/ 96 w 119"/>
                <a:gd name="T11" fmla="*/ 35 h 118"/>
                <a:gd name="T12" fmla="*/ 73 w 119"/>
                <a:gd name="T13" fmla="*/ 59 h 118"/>
                <a:gd name="T14" fmla="*/ 68 w 119"/>
                <a:gd name="T15" fmla="*/ 60 h 118"/>
                <a:gd name="T16" fmla="*/ 68 w 119"/>
                <a:gd name="T17" fmla="*/ 47 h 118"/>
                <a:gd name="T18" fmla="*/ 68 w 119"/>
                <a:gd name="T19" fmla="*/ 24 h 118"/>
                <a:gd name="T20" fmla="*/ 44 w 119"/>
                <a:gd name="T21" fmla="*/ 0 h 118"/>
                <a:gd name="T22" fmla="*/ 21 w 119"/>
                <a:gd name="T23" fmla="*/ 24 h 118"/>
                <a:gd name="T24" fmla="*/ 21 w 119"/>
                <a:gd name="T25" fmla="*/ 47 h 118"/>
                <a:gd name="T26" fmla="*/ 21 w 119"/>
                <a:gd name="T27" fmla="*/ 60 h 118"/>
                <a:gd name="T28" fmla="*/ 0 w 119"/>
                <a:gd name="T29" fmla="*/ 65 h 118"/>
                <a:gd name="T30" fmla="*/ 0 w 119"/>
                <a:gd name="T31" fmla="*/ 106 h 118"/>
                <a:gd name="T32" fmla="*/ 5 w 119"/>
                <a:gd name="T33" fmla="*/ 118 h 118"/>
                <a:gd name="T34" fmla="*/ 82 w 119"/>
                <a:gd name="T35" fmla="*/ 63 h 118"/>
                <a:gd name="T36" fmla="*/ 84 w 119"/>
                <a:gd name="T37" fmla="*/ 90 h 118"/>
                <a:gd name="T38" fmla="*/ 3 w 119"/>
                <a:gd name="T39" fmla="*/ 65 h 118"/>
                <a:gd name="T40" fmla="*/ 44 w 119"/>
                <a:gd name="T41" fmla="*/ 4 h 118"/>
                <a:gd name="T42" fmla="*/ 63 w 119"/>
                <a:gd name="T43" fmla="*/ 13 h 118"/>
                <a:gd name="T44" fmla="*/ 44 w 119"/>
                <a:gd name="T45" fmla="*/ 21 h 118"/>
                <a:gd name="T46" fmla="*/ 26 w 119"/>
                <a:gd name="T47" fmla="*/ 13 h 118"/>
                <a:gd name="T48" fmla="*/ 44 w 119"/>
                <a:gd name="T49" fmla="*/ 4 h 118"/>
                <a:gd name="T50" fmla="*/ 25 w 119"/>
                <a:gd name="T51" fmla="*/ 20 h 118"/>
                <a:gd name="T52" fmla="*/ 64 w 119"/>
                <a:gd name="T53" fmla="*/ 20 h 118"/>
                <a:gd name="T54" fmla="*/ 65 w 119"/>
                <a:gd name="T55" fmla="*/ 24 h 118"/>
                <a:gd name="T56" fmla="*/ 44 w 119"/>
                <a:gd name="T57" fmla="*/ 35 h 118"/>
                <a:gd name="T58" fmla="*/ 24 w 119"/>
                <a:gd name="T59" fmla="*/ 24 h 118"/>
                <a:gd name="T60" fmla="*/ 24 w 119"/>
                <a:gd name="T61" fmla="*/ 42 h 118"/>
                <a:gd name="T62" fmla="*/ 44 w 119"/>
                <a:gd name="T63" fmla="*/ 49 h 118"/>
                <a:gd name="T64" fmla="*/ 65 w 119"/>
                <a:gd name="T65" fmla="*/ 42 h 118"/>
                <a:gd name="T66" fmla="*/ 62 w 119"/>
                <a:gd name="T67" fmla="*/ 52 h 118"/>
                <a:gd name="T68" fmla="*/ 26 w 119"/>
                <a:gd name="T69" fmla="*/ 52 h 118"/>
                <a:gd name="T70" fmla="*/ 24 w 119"/>
                <a:gd name="T71" fmla="*/ 42 h 118"/>
                <a:gd name="T72" fmla="*/ 75 w 119"/>
                <a:gd name="T73" fmla="*/ 54 h 118"/>
                <a:gd name="T74" fmla="*/ 96 w 119"/>
                <a:gd name="T75" fmla="*/ 60 h 118"/>
                <a:gd name="T76" fmla="*/ 116 w 119"/>
                <a:gd name="T77" fmla="*/ 54 h 118"/>
                <a:gd name="T78" fmla="*/ 114 w 119"/>
                <a:gd name="T79" fmla="*/ 64 h 118"/>
                <a:gd name="T80" fmla="*/ 87 w 119"/>
                <a:gd name="T81" fmla="*/ 68 h 118"/>
                <a:gd name="T82" fmla="*/ 82 w 119"/>
                <a:gd name="T83" fmla="*/ 60 h 118"/>
                <a:gd name="T84" fmla="*/ 75 w 119"/>
                <a:gd name="T85" fmla="*/ 59 h 118"/>
                <a:gd name="T86" fmla="*/ 115 w 119"/>
                <a:gd name="T87" fmla="*/ 47 h 118"/>
                <a:gd name="T88" fmla="*/ 113 w 119"/>
                <a:gd name="T89" fmla="*/ 50 h 118"/>
                <a:gd name="T90" fmla="*/ 79 w 119"/>
                <a:gd name="T91" fmla="*/ 50 h 118"/>
                <a:gd name="T92" fmla="*/ 77 w 119"/>
                <a:gd name="T93" fmla="*/ 47 h 118"/>
                <a:gd name="T94" fmla="*/ 114 w 119"/>
                <a:gd name="T95" fmla="*/ 87 h 118"/>
                <a:gd name="T96" fmla="*/ 87 w 119"/>
                <a:gd name="T97" fmla="*/ 91 h 118"/>
                <a:gd name="T98" fmla="*/ 87 w 119"/>
                <a:gd name="T99" fmla="*/ 82 h 118"/>
                <a:gd name="T100" fmla="*/ 116 w 119"/>
                <a:gd name="T101" fmla="*/ 77 h 118"/>
                <a:gd name="T102" fmla="*/ 116 w 119"/>
                <a:gd name="T103" fmla="*/ 82 h 118"/>
                <a:gd name="T104" fmla="*/ 84 w 119"/>
                <a:gd name="T105" fmla="*/ 106 h 118"/>
                <a:gd name="T106" fmla="*/ 82 w 119"/>
                <a:gd name="T107" fmla="*/ 116 h 118"/>
                <a:gd name="T108" fmla="*/ 3 w 119"/>
                <a:gd name="T109" fmla="*/ 114 h 118"/>
                <a:gd name="T110" fmla="*/ 84 w 119"/>
                <a:gd name="T111"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9" h="118">
                  <a:moveTo>
                    <a:pt x="5" y="118"/>
                  </a:moveTo>
                  <a:cubicBezTo>
                    <a:pt x="82" y="118"/>
                    <a:pt x="82" y="118"/>
                    <a:pt x="82" y="118"/>
                  </a:cubicBezTo>
                  <a:cubicBezTo>
                    <a:pt x="85" y="118"/>
                    <a:pt x="87" y="116"/>
                    <a:pt x="87" y="114"/>
                  </a:cubicBezTo>
                  <a:cubicBezTo>
                    <a:pt x="87" y="106"/>
                    <a:pt x="87" y="106"/>
                    <a:pt x="87" y="106"/>
                  </a:cubicBezTo>
                  <a:cubicBezTo>
                    <a:pt x="87" y="105"/>
                    <a:pt x="87" y="105"/>
                    <a:pt x="87" y="105"/>
                  </a:cubicBezTo>
                  <a:cubicBezTo>
                    <a:pt x="90" y="106"/>
                    <a:pt x="93" y="106"/>
                    <a:pt x="96" y="106"/>
                  </a:cubicBezTo>
                  <a:cubicBezTo>
                    <a:pt x="109" y="106"/>
                    <a:pt x="119" y="101"/>
                    <a:pt x="119" y="94"/>
                  </a:cubicBezTo>
                  <a:cubicBezTo>
                    <a:pt x="119" y="82"/>
                    <a:pt x="119" y="82"/>
                    <a:pt x="119" y="82"/>
                  </a:cubicBezTo>
                  <a:cubicBezTo>
                    <a:pt x="119" y="71"/>
                    <a:pt x="119" y="71"/>
                    <a:pt x="119" y="71"/>
                  </a:cubicBezTo>
                  <a:cubicBezTo>
                    <a:pt x="119" y="59"/>
                    <a:pt x="119" y="59"/>
                    <a:pt x="119" y="59"/>
                  </a:cubicBezTo>
                  <a:cubicBezTo>
                    <a:pt x="119" y="47"/>
                    <a:pt x="119" y="47"/>
                    <a:pt x="119" y="47"/>
                  </a:cubicBezTo>
                  <a:cubicBezTo>
                    <a:pt x="119" y="40"/>
                    <a:pt x="109" y="35"/>
                    <a:pt x="96" y="35"/>
                  </a:cubicBezTo>
                  <a:cubicBezTo>
                    <a:pt x="83" y="35"/>
                    <a:pt x="73" y="40"/>
                    <a:pt x="73" y="47"/>
                  </a:cubicBezTo>
                  <a:cubicBezTo>
                    <a:pt x="73" y="59"/>
                    <a:pt x="73" y="59"/>
                    <a:pt x="73" y="59"/>
                  </a:cubicBezTo>
                  <a:cubicBezTo>
                    <a:pt x="73" y="60"/>
                    <a:pt x="73" y="60"/>
                    <a:pt x="73" y="60"/>
                  </a:cubicBezTo>
                  <a:cubicBezTo>
                    <a:pt x="68" y="60"/>
                    <a:pt x="68" y="60"/>
                    <a:pt x="68" y="60"/>
                  </a:cubicBezTo>
                  <a:cubicBezTo>
                    <a:pt x="68" y="59"/>
                    <a:pt x="68" y="59"/>
                    <a:pt x="68" y="59"/>
                  </a:cubicBezTo>
                  <a:cubicBezTo>
                    <a:pt x="68" y="47"/>
                    <a:pt x="68" y="47"/>
                    <a:pt x="68" y="47"/>
                  </a:cubicBezTo>
                  <a:cubicBezTo>
                    <a:pt x="68" y="36"/>
                    <a:pt x="68" y="36"/>
                    <a:pt x="68" y="36"/>
                  </a:cubicBezTo>
                  <a:cubicBezTo>
                    <a:pt x="68" y="24"/>
                    <a:pt x="68" y="24"/>
                    <a:pt x="68" y="24"/>
                  </a:cubicBezTo>
                  <a:cubicBezTo>
                    <a:pt x="68" y="13"/>
                    <a:pt x="68" y="13"/>
                    <a:pt x="68" y="13"/>
                  </a:cubicBezTo>
                  <a:cubicBezTo>
                    <a:pt x="68" y="6"/>
                    <a:pt x="57" y="0"/>
                    <a:pt x="44" y="0"/>
                  </a:cubicBezTo>
                  <a:cubicBezTo>
                    <a:pt x="31" y="0"/>
                    <a:pt x="21" y="6"/>
                    <a:pt x="21" y="13"/>
                  </a:cubicBezTo>
                  <a:cubicBezTo>
                    <a:pt x="21" y="24"/>
                    <a:pt x="21" y="24"/>
                    <a:pt x="21" y="24"/>
                  </a:cubicBezTo>
                  <a:cubicBezTo>
                    <a:pt x="21" y="36"/>
                    <a:pt x="21" y="36"/>
                    <a:pt x="21" y="36"/>
                  </a:cubicBezTo>
                  <a:cubicBezTo>
                    <a:pt x="21" y="47"/>
                    <a:pt x="21" y="47"/>
                    <a:pt x="21" y="47"/>
                  </a:cubicBezTo>
                  <a:cubicBezTo>
                    <a:pt x="21" y="59"/>
                    <a:pt x="21" y="59"/>
                    <a:pt x="21" y="59"/>
                  </a:cubicBezTo>
                  <a:cubicBezTo>
                    <a:pt x="21" y="60"/>
                    <a:pt x="21" y="60"/>
                    <a:pt x="21" y="60"/>
                  </a:cubicBezTo>
                  <a:cubicBezTo>
                    <a:pt x="5" y="60"/>
                    <a:pt x="5" y="60"/>
                    <a:pt x="5" y="60"/>
                  </a:cubicBezTo>
                  <a:cubicBezTo>
                    <a:pt x="3" y="60"/>
                    <a:pt x="0" y="62"/>
                    <a:pt x="0" y="65"/>
                  </a:cubicBezTo>
                  <a:cubicBezTo>
                    <a:pt x="0" y="90"/>
                    <a:pt x="0" y="90"/>
                    <a:pt x="0" y="90"/>
                  </a:cubicBezTo>
                  <a:cubicBezTo>
                    <a:pt x="0" y="106"/>
                    <a:pt x="0" y="106"/>
                    <a:pt x="0" y="106"/>
                  </a:cubicBezTo>
                  <a:cubicBezTo>
                    <a:pt x="0" y="114"/>
                    <a:pt x="0" y="114"/>
                    <a:pt x="0" y="114"/>
                  </a:cubicBezTo>
                  <a:cubicBezTo>
                    <a:pt x="0" y="116"/>
                    <a:pt x="3" y="118"/>
                    <a:pt x="5" y="118"/>
                  </a:cubicBezTo>
                  <a:close/>
                  <a:moveTo>
                    <a:pt x="5" y="63"/>
                  </a:moveTo>
                  <a:cubicBezTo>
                    <a:pt x="82" y="63"/>
                    <a:pt x="82" y="63"/>
                    <a:pt x="82" y="63"/>
                  </a:cubicBezTo>
                  <a:cubicBezTo>
                    <a:pt x="83" y="63"/>
                    <a:pt x="84" y="64"/>
                    <a:pt x="84" y="65"/>
                  </a:cubicBezTo>
                  <a:cubicBezTo>
                    <a:pt x="84" y="90"/>
                    <a:pt x="84" y="90"/>
                    <a:pt x="84" y="90"/>
                  </a:cubicBezTo>
                  <a:cubicBezTo>
                    <a:pt x="3" y="90"/>
                    <a:pt x="3" y="90"/>
                    <a:pt x="3" y="90"/>
                  </a:cubicBezTo>
                  <a:cubicBezTo>
                    <a:pt x="3" y="65"/>
                    <a:pt x="3" y="65"/>
                    <a:pt x="3" y="65"/>
                  </a:cubicBezTo>
                  <a:cubicBezTo>
                    <a:pt x="3" y="64"/>
                    <a:pt x="4" y="63"/>
                    <a:pt x="5" y="63"/>
                  </a:cubicBezTo>
                  <a:close/>
                  <a:moveTo>
                    <a:pt x="44" y="4"/>
                  </a:moveTo>
                  <a:cubicBezTo>
                    <a:pt x="55" y="4"/>
                    <a:pt x="63" y="8"/>
                    <a:pt x="63" y="12"/>
                  </a:cubicBezTo>
                  <a:cubicBezTo>
                    <a:pt x="63" y="12"/>
                    <a:pt x="63" y="13"/>
                    <a:pt x="63" y="13"/>
                  </a:cubicBezTo>
                  <a:cubicBezTo>
                    <a:pt x="63" y="14"/>
                    <a:pt x="62" y="15"/>
                    <a:pt x="61" y="16"/>
                  </a:cubicBezTo>
                  <a:cubicBezTo>
                    <a:pt x="58" y="19"/>
                    <a:pt x="51" y="21"/>
                    <a:pt x="44" y="21"/>
                  </a:cubicBezTo>
                  <a:cubicBezTo>
                    <a:pt x="37" y="21"/>
                    <a:pt x="31" y="19"/>
                    <a:pt x="28" y="16"/>
                  </a:cubicBezTo>
                  <a:cubicBezTo>
                    <a:pt x="27" y="15"/>
                    <a:pt x="26" y="14"/>
                    <a:pt x="26" y="13"/>
                  </a:cubicBezTo>
                  <a:cubicBezTo>
                    <a:pt x="26" y="13"/>
                    <a:pt x="26" y="12"/>
                    <a:pt x="26" y="12"/>
                  </a:cubicBezTo>
                  <a:cubicBezTo>
                    <a:pt x="26" y="8"/>
                    <a:pt x="34" y="4"/>
                    <a:pt x="44" y="4"/>
                  </a:cubicBezTo>
                  <a:close/>
                  <a:moveTo>
                    <a:pt x="24" y="19"/>
                  </a:moveTo>
                  <a:cubicBezTo>
                    <a:pt x="24" y="19"/>
                    <a:pt x="24" y="19"/>
                    <a:pt x="25" y="20"/>
                  </a:cubicBezTo>
                  <a:cubicBezTo>
                    <a:pt x="29" y="23"/>
                    <a:pt x="36" y="26"/>
                    <a:pt x="44" y="26"/>
                  </a:cubicBezTo>
                  <a:cubicBezTo>
                    <a:pt x="53" y="26"/>
                    <a:pt x="60" y="23"/>
                    <a:pt x="64" y="20"/>
                  </a:cubicBezTo>
                  <a:cubicBezTo>
                    <a:pt x="64" y="19"/>
                    <a:pt x="65" y="19"/>
                    <a:pt x="65" y="19"/>
                  </a:cubicBezTo>
                  <a:cubicBezTo>
                    <a:pt x="65" y="24"/>
                    <a:pt x="65" y="24"/>
                    <a:pt x="65" y="24"/>
                  </a:cubicBezTo>
                  <a:cubicBezTo>
                    <a:pt x="65" y="26"/>
                    <a:pt x="64" y="28"/>
                    <a:pt x="62" y="29"/>
                  </a:cubicBezTo>
                  <a:cubicBezTo>
                    <a:pt x="59" y="32"/>
                    <a:pt x="52" y="35"/>
                    <a:pt x="44" y="35"/>
                  </a:cubicBezTo>
                  <a:cubicBezTo>
                    <a:pt x="37" y="35"/>
                    <a:pt x="30" y="32"/>
                    <a:pt x="26" y="29"/>
                  </a:cubicBezTo>
                  <a:cubicBezTo>
                    <a:pt x="25" y="28"/>
                    <a:pt x="24" y="26"/>
                    <a:pt x="24" y="24"/>
                  </a:cubicBezTo>
                  <a:lnTo>
                    <a:pt x="24" y="19"/>
                  </a:lnTo>
                  <a:close/>
                  <a:moveTo>
                    <a:pt x="24" y="42"/>
                  </a:moveTo>
                  <a:cubicBezTo>
                    <a:pt x="24" y="42"/>
                    <a:pt x="24" y="42"/>
                    <a:pt x="25" y="43"/>
                  </a:cubicBezTo>
                  <a:cubicBezTo>
                    <a:pt x="29" y="46"/>
                    <a:pt x="36" y="49"/>
                    <a:pt x="44" y="49"/>
                  </a:cubicBezTo>
                  <a:cubicBezTo>
                    <a:pt x="53" y="49"/>
                    <a:pt x="60" y="46"/>
                    <a:pt x="64" y="43"/>
                  </a:cubicBezTo>
                  <a:cubicBezTo>
                    <a:pt x="64" y="42"/>
                    <a:pt x="65" y="42"/>
                    <a:pt x="65" y="42"/>
                  </a:cubicBezTo>
                  <a:cubicBezTo>
                    <a:pt x="65" y="47"/>
                    <a:pt x="65" y="47"/>
                    <a:pt x="65" y="47"/>
                  </a:cubicBezTo>
                  <a:cubicBezTo>
                    <a:pt x="65" y="49"/>
                    <a:pt x="64" y="51"/>
                    <a:pt x="62" y="52"/>
                  </a:cubicBezTo>
                  <a:cubicBezTo>
                    <a:pt x="59" y="56"/>
                    <a:pt x="52" y="58"/>
                    <a:pt x="44" y="58"/>
                  </a:cubicBezTo>
                  <a:cubicBezTo>
                    <a:pt x="37" y="58"/>
                    <a:pt x="30" y="56"/>
                    <a:pt x="26" y="52"/>
                  </a:cubicBezTo>
                  <a:cubicBezTo>
                    <a:pt x="25" y="51"/>
                    <a:pt x="24" y="49"/>
                    <a:pt x="24" y="47"/>
                  </a:cubicBezTo>
                  <a:lnTo>
                    <a:pt x="24" y="42"/>
                  </a:lnTo>
                  <a:close/>
                  <a:moveTo>
                    <a:pt x="75" y="59"/>
                  </a:moveTo>
                  <a:cubicBezTo>
                    <a:pt x="75" y="54"/>
                    <a:pt x="75" y="54"/>
                    <a:pt x="75" y="54"/>
                  </a:cubicBezTo>
                  <a:cubicBezTo>
                    <a:pt x="76" y="54"/>
                    <a:pt x="76" y="54"/>
                    <a:pt x="76" y="54"/>
                  </a:cubicBezTo>
                  <a:cubicBezTo>
                    <a:pt x="80" y="58"/>
                    <a:pt x="88" y="60"/>
                    <a:pt x="96" y="60"/>
                  </a:cubicBezTo>
                  <a:cubicBezTo>
                    <a:pt x="104" y="60"/>
                    <a:pt x="111" y="58"/>
                    <a:pt x="116" y="54"/>
                  </a:cubicBezTo>
                  <a:cubicBezTo>
                    <a:pt x="116" y="54"/>
                    <a:pt x="116" y="54"/>
                    <a:pt x="116" y="54"/>
                  </a:cubicBezTo>
                  <a:cubicBezTo>
                    <a:pt x="116" y="59"/>
                    <a:pt x="116" y="59"/>
                    <a:pt x="116" y="59"/>
                  </a:cubicBezTo>
                  <a:cubicBezTo>
                    <a:pt x="116" y="61"/>
                    <a:pt x="115" y="63"/>
                    <a:pt x="114" y="64"/>
                  </a:cubicBezTo>
                  <a:cubicBezTo>
                    <a:pt x="110" y="67"/>
                    <a:pt x="103" y="69"/>
                    <a:pt x="96" y="69"/>
                  </a:cubicBezTo>
                  <a:cubicBezTo>
                    <a:pt x="93" y="69"/>
                    <a:pt x="90" y="69"/>
                    <a:pt x="87" y="68"/>
                  </a:cubicBezTo>
                  <a:cubicBezTo>
                    <a:pt x="87" y="65"/>
                    <a:pt x="87" y="65"/>
                    <a:pt x="87" y="65"/>
                  </a:cubicBezTo>
                  <a:cubicBezTo>
                    <a:pt x="87" y="62"/>
                    <a:pt x="85" y="60"/>
                    <a:pt x="82" y="60"/>
                  </a:cubicBezTo>
                  <a:cubicBezTo>
                    <a:pt x="76" y="60"/>
                    <a:pt x="76" y="60"/>
                    <a:pt x="76" y="60"/>
                  </a:cubicBezTo>
                  <a:cubicBezTo>
                    <a:pt x="75" y="60"/>
                    <a:pt x="75" y="60"/>
                    <a:pt x="75" y="59"/>
                  </a:cubicBezTo>
                  <a:close/>
                  <a:moveTo>
                    <a:pt x="96" y="38"/>
                  </a:moveTo>
                  <a:cubicBezTo>
                    <a:pt x="107" y="38"/>
                    <a:pt x="115" y="43"/>
                    <a:pt x="115" y="47"/>
                  </a:cubicBezTo>
                  <a:cubicBezTo>
                    <a:pt x="115" y="47"/>
                    <a:pt x="115" y="47"/>
                    <a:pt x="114" y="48"/>
                  </a:cubicBezTo>
                  <a:cubicBezTo>
                    <a:pt x="114" y="49"/>
                    <a:pt x="113" y="50"/>
                    <a:pt x="113" y="50"/>
                  </a:cubicBezTo>
                  <a:cubicBezTo>
                    <a:pt x="109" y="53"/>
                    <a:pt x="103" y="55"/>
                    <a:pt x="96" y="55"/>
                  </a:cubicBezTo>
                  <a:cubicBezTo>
                    <a:pt x="89" y="55"/>
                    <a:pt x="82" y="53"/>
                    <a:pt x="79" y="50"/>
                  </a:cubicBezTo>
                  <a:cubicBezTo>
                    <a:pt x="78" y="50"/>
                    <a:pt x="77" y="49"/>
                    <a:pt x="77" y="48"/>
                  </a:cubicBezTo>
                  <a:cubicBezTo>
                    <a:pt x="77" y="47"/>
                    <a:pt x="77" y="47"/>
                    <a:pt x="77" y="47"/>
                  </a:cubicBezTo>
                  <a:cubicBezTo>
                    <a:pt x="77" y="43"/>
                    <a:pt x="85" y="38"/>
                    <a:pt x="96" y="38"/>
                  </a:cubicBezTo>
                  <a:close/>
                  <a:moveTo>
                    <a:pt x="114" y="87"/>
                  </a:moveTo>
                  <a:cubicBezTo>
                    <a:pt x="110" y="90"/>
                    <a:pt x="103" y="92"/>
                    <a:pt x="96" y="92"/>
                  </a:cubicBezTo>
                  <a:cubicBezTo>
                    <a:pt x="93" y="92"/>
                    <a:pt x="90" y="92"/>
                    <a:pt x="87" y="91"/>
                  </a:cubicBezTo>
                  <a:cubicBezTo>
                    <a:pt x="87" y="90"/>
                    <a:pt x="87" y="90"/>
                    <a:pt x="87" y="90"/>
                  </a:cubicBezTo>
                  <a:cubicBezTo>
                    <a:pt x="87" y="82"/>
                    <a:pt x="87" y="82"/>
                    <a:pt x="87" y="82"/>
                  </a:cubicBezTo>
                  <a:cubicBezTo>
                    <a:pt x="90" y="83"/>
                    <a:pt x="93" y="83"/>
                    <a:pt x="96" y="83"/>
                  </a:cubicBezTo>
                  <a:cubicBezTo>
                    <a:pt x="104" y="83"/>
                    <a:pt x="111" y="81"/>
                    <a:pt x="116" y="77"/>
                  </a:cubicBezTo>
                  <a:cubicBezTo>
                    <a:pt x="116" y="77"/>
                    <a:pt x="116" y="77"/>
                    <a:pt x="116" y="77"/>
                  </a:cubicBezTo>
                  <a:cubicBezTo>
                    <a:pt x="116" y="82"/>
                    <a:pt x="116" y="82"/>
                    <a:pt x="116" y="82"/>
                  </a:cubicBezTo>
                  <a:cubicBezTo>
                    <a:pt x="116" y="84"/>
                    <a:pt x="115" y="86"/>
                    <a:pt x="114" y="87"/>
                  </a:cubicBezTo>
                  <a:close/>
                  <a:moveTo>
                    <a:pt x="84" y="106"/>
                  </a:moveTo>
                  <a:cubicBezTo>
                    <a:pt x="84" y="114"/>
                    <a:pt x="84" y="114"/>
                    <a:pt x="84" y="114"/>
                  </a:cubicBezTo>
                  <a:cubicBezTo>
                    <a:pt x="84" y="115"/>
                    <a:pt x="83" y="116"/>
                    <a:pt x="82" y="116"/>
                  </a:cubicBezTo>
                  <a:cubicBezTo>
                    <a:pt x="5" y="116"/>
                    <a:pt x="5" y="116"/>
                    <a:pt x="5" y="116"/>
                  </a:cubicBezTo>
                  <a:cubicBezTo>
                    <a:pt x="4" y="116"/>
                    <a:pt x="3" y="115"/>
                    <a:pt x="3" y="114"/>
                  </a:cubicBezTo>
                  <a:cubicBezTo>
                    <a:pt x="3" y="106"/>
                    <a:pt x="3" y="106"/>
                    <a:pt x="3" y="106"/>
                  </a:cubicBezTo>
                  <a:lnTo>
                    <a:pt x="84" y="10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grpSp>
      <p:grpSp>
        <p:nvGrpSpPr>
          <p:cNvPr id="40" name="淘宝网chenying0907出品 49"/>
          <p:cNvGrpSpPr/>
          <p:nvPr/>
        </p:nvGrpSpPr>
        <p:grpSpPr>
          <a:xfrm>
            <a:off x="2863651" y="2906178"/>
            <a:ext cx="934923" cy="817700"/>
            <a:chOff x="1394570" y="3052763"/>
            <a:chExt cx="1038225" cy="908050"/>
          </a:xfrm>
        </p:grpSpPr>
        <p:sp>
          <p:nvSpPr>
            <p:cNvPr id="41" name="淘宝网chenying0907出品 21"/>
            <p:cNvSpPr/>
            <p:nvPr/>
          </p:nvSpPr>
          <p:spPr bwMode="auto">
            <a:xfrm>
              <a:off x="1394570" y="3052763"/>
              <a:ext cx="1038225" cy="908050"/>
            </a:xfrm>
            <a:custGeom>
              <a:avLst/>
              <a:gdLst>
                <a:gd name="T0" fmla="*/ 277 w 277"/>
                <a:gd name="T1" fmla="*/ 76 h 242"/>
                <a:gd name="T2" fmla="*/ 233 w 277"/>
                <a:gd name="T3" fmla="*/ 76 h 242"/>
                <a:gd name="T4" fmla="*/ 121 w 277"/>
                <a:gd name="T5" fmla="*/ 0 h 242"/>
                <a:gd name="T6" fmla="*/ 0 w 277"/>
                <a:gd name="T7" fmla="*/ 121 h 242"/>
                <a:gd name="T8" fmla="*/ 121 w 277"/>
                <a:gd name="T9" fmla="*/ 242 h 242"/>
                <a:gd name="T10" fmla="*/ 242 w 277"/>
                <a:gd name="T11" fmla="*/ 121 h 242"/>
                <a:gd name="T12" fmla="*/ 240 w 277"/>
                <a:gd name="T13" fmla="*/ 100 h 242"/>
                <a:gd name="T14" fmla="*/ 277 w 277"/>
                <a:gd name="T15" fmla="*/ 76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242">
                  <a:moveTo>
                    <a:pt x="277" y="76"/>
                  </a:moveTo>
                  <a:cubicBezTo>
                    <a:pt x="233" y="76"/>
                    <a:pt x="233" y="76"/>
                    <a:pt x="233" y="76"/>
                  </a:cubicBezTo>
                  <a:cubicBezTo>
                    <a:pt x="215" y="31"/>
                    <a:pt x="172" y="0"/>
                    <a:pt x="121" y="0"/>
                  </a:cubicBezTo>
                  <a:cubicBezTo>
                    <a:pt x="54" y="0"/>
                    <a:pt x="0" y="54"/>
                    <a:pt x="0" y="121"/>
                  </a:cubicBezTo>
                  <a:cubicBezTo>
                    <a:pt x="0" y="188"/>
                    <a:pt x="54" y="242"/>
                    <a:pt x="121" y="242"/>
                  </a:cubicBezTo>
                  <a:cubicBezTo>
                    <a:pt x="188" y="242"/>
                    <a:pt x="242" y="188"/>
                    <a:pt x="242" y="121"/>
                  </a:cubicBezTo>
                  <a:cubicBezTo>
                    <a:pt x="242" y="114"/>
                    <a:pt x="241" y="107"/>
                    <a:pt x="240" y="100"/>
                  </a:cubicBezTo>
                  <a:lnTo>
                    <a:pt x="277" y="76"/>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grpSp>
          <p:nvGrpSpPr>
            <p:cNvPr id="44" name="淘宝网chenying0907出品 51"/>
            <p:cNvGrpSpPr/>
            <p:nvPr/>
          </p:nvGrpSpPr>
          <p:grpSpPr>
            <a:xfrm>
              <a:off x="1630406" y="3348088"/>
              <a:ext cx="442913" cy="341313"/>
              <a:chOff x="2957513" y="3316288"/>
              <a:chExt cx="442913" cy="341313"/>
            </a:xfrm>
          </p:grpSpPr>
          <p:sp>
            <p:nvSpPr>
              <p:cNvPr id="45" name="淘宝网chenying0907出品 22"/>
              <p:cNvSpPr>
                <a:spLocks noEditPoints="1"/>
              </p:cNvSpPr>
              <p:nvPr/>
            </p:nvSpPr>
            <p:spPr bwMode="auto">
              <a:xfrm>
                <a:off x="2957513" y="3316288"/>
                <a:ext cx="442913" cy="341313"/>
              </a:xfrm>
              <a:custGeom>
                <a:avLst/>
                <a:gdLst>
                  <a:gd name="T0" fmla="*/ 279 w 279"/>
                  <a:gd name="T1" fmla="*/ 198 h 215"/>
                  <a:gd name="T2" fmla="*/ 279 w 279"/>
                  <a:gd name="T3" fmla="*/ 194 h 215"/>
                  <a:gd name="T4" fmla="*/ 279 w 279"/>
                  <a:gd name="T5" fmla="*/ 184 h 215"/>
                  <a:gd name="T6" fmla="*/ 279 w 279"/>
                  <a:gd name="T7" fmla="*/ 177 h 215"/>
                  <a:gd name="T8" fmla="*/ 279 w 279"/>
                  <a:gd name="T9" fmla="*/ 168 h 215"/>
                  <a:gd name="T10" fmla="*/ 279 w 279"/>
                  <a:gd name="T11" fmla="*/ 163 h 215"/>
                  <a:gd name="T12" fmla="*/ 279 w 279"/>
                  <a:gd name="T13" fmla="*/ 153 h 215"/>
                  <a:gd name="T14" fmla="*/ 279 w 279"/>
                  <a:gd name="T15" fmla="*/ 146 h 215"/>
                  <a:gd name="T16" fmla="*/ 279 w 279"/>
                  <a:gd name="T17" fmla="*/ 139 h 215"/>
                  <a:gd name="T18" fmla="*/ 279 w 279"/>
                  <a:gd name="T19" fmla="*/ 132 h 215"/>
                  <a:gd name="T20" fmla="*/ 279 w 279"/>
                  <a:gd name="T21" fmla="*/ 0 h 215"/>
                  <a:gd name="T22" fmla="*/ 0 w 279"/>
                  <a:gd name="T23" fmla="*/ 0 h 215"/>
                  <a:gd name="T24" fmla="*/ 0 w 279"/>
                  <a:gd name="T25" fmla="*/ 132 h 215"/>
                  <a:gd name="T26" fmla="*/ 0 w 279"/>
                  <a:gd name="T27" fmla="*/ 139 h 215"/>
                  <a:gd name="T28" fmla="*/ 0 w 279"/>
                  <a:gd name="T29" fmla="*/ 146 h 215"/>
                  <a:gd name="T30" fmla="*/ 0 w 279"/>
                  <a:gd name="T31" fmla="*/ 153 h 215"/>
                  <a:gd name="T32" fmla="*/ 0 w 279"/>
                  <a:gd name="T33" fmla="*/ 163 h 215"/>
                  <a:gd name="T34" fmla="*/ 0 w 279"/>
                  <a:gd name="T35" fmla="*/ 168 h 215"/>
                  <a:gd name="T36" fmla="*/ 0 w 279"/>
                  <a:gd name="T37" fmla="*/ 177 h 215"/>
                  <a:gd name="T38" fmla="*/ 0 w 279"/>
                  <a:gd name="T39" fmla="*/ 184 h 215"/>
                  <a:gd name="T40" fmla="*/ 0 w 279"/>
                  <a:gd name="T41" fmla="*/ 194 h 215"/>
                  <a:gd name="T42" fmla="*/ 0 w 279"/>
                  <a:gd name="T43" fmla="*/ 198 h 215"/>
                  <a:gd name="T44" fmla="*/ 0 w 279"/>
                  <a:gd name="T45" fmla="*/ 215 h 215"/>
                  <a:gd name="T46" fmla="*/ 279 w 279"/>
                  <a:gd name="T47" fmla="*/ 215 h 215"/>
                  <a:gd name="T48" fmla="*/ 279 w 279"/>
                  <a:gd name="T49" fmla="*/ 198 h 215"/>
                  <a:gd name="T50" fmla="*/ 5 w 279"/>
                  <a:gd name="T51" fmla="*/ 5 h 215"/>
                  <a:gd name="T52" fmla="*/ 272 w 279"/>
                  <a:gd name="T53" fmla="*/ 5 h 215"/>
                  <a:gd name="T54" fmla="*/ 272 w 279"/>
                  <a:gd name="T55" fmla="*/ 132 h 215"/>
                  <a:gd name="T56" fmla="*/ 5 w 279"/>
                  <a:gd name="T57" fmla="*/ 132 h 215"/>
                  <a:gd name="T58" fmla="*/ 5 w 279"/>
                  <a:gd name="T59" fmla="*/ 5 h 215"/>
                  <a:gd name="T60" fmla="*/ 5 w 279"/>
                  <a:gd name="T61" fmla="*/ 153 h 215"/>
                  <a:gd name="T62" fmla="*/ 272 w 279"/>
                  <a:gd name="T63" fmla="*/ 153 h 215"/>
                  <a:gd name="T64" fmla="*/ 272 w 279"/>
                  <a:gd name="T65" fmla="*/ 163 h 215"/>
                  <a:gd name="T66" fmla="*/ 5 w 279"/>
                  <a:gd name="T67" fmla="*/ 163 h 215"/>
                  <a:gd name="T68" fmla="*/ 5 w 279"/>
                  <a:gd name="T69" fmla="*/ 153 h 215"/>
                  <a:gd name="T70" fmla="*/ 5 w 279"/>
                  <a:gd name="T71" fmla="*/ 184 h 215"/>
                  <a:gd name="T72" fmla="*/ 272 w 279"/>
                  <a:gd name="T73" fmla="*/ 184 h 215"/>
                  <a:gd name="T74" fmla="*/ 272 w 279"/>
                  <a:gd name="T75" fmla="*/ 194 h 215"/>
                  <a:gd name="T76" fmla="*/ 5 w 279"/>
                  <a:gd name="T77" fmla="*/ 194 h 215"/>
                  <a:gd name="T78" fmla="*/ 5 w 279"/>
                  <a:gd name="T79" fmla="*/ 1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215">
                    <a:moveTo>
                      <a:pt x="279" y="198"/>
                    </a:moveTo>
                    <a:lnTo>
                      <a:pt x="279" y="194"/>
                    </a:lnTo>
                    <a:lnTo>
                      <a:pt x="279" y="184"/>
                    </a:lnTo>
                    <a:lnTo>
                      <a:pt x="279" y="177"/>
                    </a:lnTo>
                    <a:lnTo>
                      <a:pt x="279" y="168"/>
                    </a:lnTo>
                    <a:lnTo>
                      <a:pt x="279" y="163"/>
                    </a:lnTo>
                    <a:lnTo>
                      <a:pt x="279" y="153"/>
                    </a:lnTo>
                    <a:lnTo>
                      <a:pt x="279" y="146"/>
                    </a:lnTo>
                    <a:lnTo>
                      <a:pt x="279" y="139"/>
                    </a:lnTo>
                    <a:lnTo>
                      <a:pt x="279" y="132"/>
                    </a:lnTo>
                    <a:lnTo>
                      <a:pt x="279" y="0"/>
                    </a:lnTo>
                    <a:lnTo>
                      <a:pt x="0" y="0"/>
                    </a:lnTo>
                    <a:lnTo>
                      <a:pt x="0" y="132"/>
                    </a:lnTo>
                    <a:lnTo>
                      <a:pt x="0" y="139"/>
                    </a:lnTo>
                    <a:lnTo>
                      <a:pt x="0" y="146"/>
                    </a:lnTo>
                    <a:lnTo>
                      <a:pt x="0" y="153"/>
                    </a:lnTo>
                    <a:lnTo>
                      <a:pt x="0" y="163"/>
                    </a:lnTo>
                    <a:lnTo>
                      <a:pt x="0" y="168"/>
                    </a:lnTo>
                    <a:lnTo>
                      <a:pt x="0" y="177"/>
                    </a:lnTo>
                    <a:lnTo>
                      <a:pt x="0" y="184"/>
                    </a:lnTo>
                    <a:lnTo>
                      <a:pt x="0" y="194"/>
                    </a:lnTo>
                    <a:lnTo>
                      <a:pt x="0" y="198"/>
                    </a:lnTo>
                    <a:lnTo>
                      <a:pt x="0" y="215"/>
                    </a:lnTo>
                    <a:lnTo>
                      <a:pt x="279" y="215"/>
                    </a:lnTo>
                    <a:lnTo>
                      <a:pt x="279" y="198"/>
                    </a:lnTo>
                    <a:close/>
                    <a:moveTo>
                      <a:pt x="5" y="5"/>
                    </a:moveTo>
                    <a:lnTo>
                      <a:pt x="272" y="5"/>
                    </a:lnTo>
                    <a:lnTo>
                      <a:pt x="272" y="132"/>
                    </a:lnTo>
                    <a:lnTo>
                      <a:pt x="5" y="132"/>
                    </a:lnTo>
                    <a:lnTo>
                      <a:pt x="5" y="5"/>
                    </a:lnTo>
                    <a:close/>
                    <a:moveTo>
                      <a:pt x="5" y="153"/>
                    </a:moveTo>
                    <a:lnTo>
                      <a:pt x="272" y="153"/>
                    </a:lnTo>
                    <a:lnTo>
                      <a:pt x="272" y="163"/>
                    </a:lnTo>
                    <a:lnTo>
                      <a:pt x="5" y="163"/>
                    </a:lnTo>
                    <a:lnTo>
                      <a:pt x="5" y="153"/>
                    </a:lnTo>
                    <a:close/>
                    <a:moveTo>
                      <a:pt x="5" y="184"/>
                    </a:moveTo>
                    <a:lnTo>
                      <a:pt x="272" y="184"/>
                    </a:lnTo>
                    <a:lnTo>
                      <a:pt x="272" y="194"/>
                    </a:lnTo>
                    <a:lnTo>
                      <a:pt x="5" y="194"/>
                    </a:lnTo>
                    <a:lnTo>
                      <a:pt x="5" y="18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46" name="淘宝网chenying0907出品 23"/>
              <p:cNvSpPr>
                <a:spLocks noEditPoints="1"/>
              </p:cNvSpPr>
              <p:nvPr/>
            </p:nvSpPr>
            <p:spPr bwMode="auto">
              <a:xfrm>
                <a:off x="2984501" y="3341688"/>
                <a:ext cx="388938" cy="165100"/>
              </a:xfrm>
              <a:custGeom>
                <a:avLst/>
                <a:gdLst>
                  <a:gd name="T0" fmla="*/ 95 w 104"/>
                  <a:gd name="T1" fmla="*/ 0 h 44"/>
                  <a:gd name="T2" fmla="*/ 9 w 104"/>
                  <a:gd name="T3" fmla="*/ 0 h 44"/>
                  <a:gd name="T4" fmla="*/ 0 w 104"/>
                  <a:gd name="T5" fmla="*/ 9 h 44"/>
                  <a:gd name="T6" fmla="*/ 0 w 104"/>
                  <a:gd name="T7" fmla="*/ 35 h 44"/>
                  <a:gd name="T8" fmla="*/ 9 w 104"/>
                  <a:gd name="T9" fmla="*/ 44 h 44"/>
                  <a:gd name="T10" fmla="*/ 95 w 104"/>
                  <a:gd name="T11" fmla="*/ 44 h 44"/>
                  <a:gd name="T12" fmla="*/ 104 w 104"/>
                  <a:gd name="T13" fmla="*/ 35 h 44"/>
                  <a:gd name="T14" fmla="*/ 104 w 104"/>
                  <a:gd name="T15" fmla="*/ 9 h 44"/>
                  <a:gd name="T16" fmla="*/ 95 w 104"/>
                  <a:gd name="T17" fmla="*/ 0 h 44"/>
                  <a:gd name="T18" fmla="*/ 79 w 104"/>
                  <a:gd name="T19" fmla="*/ 39 h 44"/>
                  <a:gd name="T20" fmla="*/ 25 w 104"/>
                  <a:gd name="T21" fmla="*/ 39 h 44"/>
                  <a:gd name="T22" fmla="*/ 7 w 104"/>
                  <a:gd name="T23" fmla="*/ 22 h 44"/>
                  <a:gd name="T24" fmla="*/ 25 w 104"/>
                  <a:gd name="T25" fmla="*/ 5 h 44"/>
                  <a:gd name="T26" fmla="*/ 79 w 104"/>
                  <a:gd name="T27" fmla="*/ 5 h 44"/>
                  <a:gd name="T28" fmla="*/ 96 w 104"/>
                  <a:gd name="T29" fmla="*/ 22 h 44"/>
                  <a:gd name="T30" fmla="*/ 79 w 104"/>
                  <a:gd name="T31" fmla="*/ 3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44">
                    <a:moveTo>
                      <a:pt x="95" y="0"/>
                    </a:moveTo>
                    <a:cubicBezTo>
                      <a:pt x="9" y="0"/>
                      <a:pt x="9" y="0"/>
                      <a:pt x="9" y="0"/>
                    </a:cubicBezTo>
                    <a:cubicBezTo>
                      <a:pt x="9" y="5"/>
                      <a:pt x="5" y="9"/>
                      <a:pt x="0" y="9"/>
                    </a:cubicBezTo>
                    <a:cubicBezTo>
                      <a:pt x="0" y="35"/>
                      <a:pt x="0" y="35"/>
                      <a:pt x="0" y="35"/>
                    </a:cubicBezTo>
                    <a:cubicBezTo>
                      <a:pt x="5" y="35"/>
                      <a:pt x="9" y="39"/>
                      <a:pt x="9" y="44"/>
                    </a:cubicBezTo>
                    <a:cubicBezTo>
                      <a:pt x="95" y="44"/>
                      <a:pt x="95" y="44"/>
                      <a:pt x="95" y="44"/>
                    </a:cubicBezTo>
                    <a:cubicBezTo>
                      <a:pt x="95" y="39"/>
                      <a:pt x="99" y="35"/>
                      <a:pt x="104" y="35"/>
                    </a:cubicBezTo>
                    <a:cubicBezTo>
                      <a:pt x="104" y="9"/>
                      <a:pt x="104" y="9"/>
                      <a:pt x="104" y="9"/>
                    </a:cubicBezTo>
                    <a:cubicBezTo>
                      <a:pt x="99" y="9"/>
                      <a:pt x="95" y="5"/>
                      <a:pt x="95" y="0"/>
                    </a:cubicBezTo>
                    <a:close/>
                    <a:moveTo>
                      <a:pt x="79" y="39"/>
                    </a:moveTo>
                    <a:cubicBezTo>
                      <a:pt x="25" y="39"/>
                      <a:pt x="25" y="39"/>
                      <a:pt x="25" y="39"/>
                    </a:cubicBezTo>
                    <a:cubicBezTo>
                      <a:pt x="15" y="39"/>
                      <a:pt x="7" y="31"/>
                      <a:pt x="7" y="22"/>
                    </a:cubicBezTo>
                    <a:cubicBezTo>
                      <a:pt x="7" y="13"/>
                      <a:pt x="15" y="5"/>
                      <a:pt x="25" y="5"/>
                    </a:cubicBezTo>
                    <a:cubicBezTo>
                      <a:pt x="79" y="5"/>
                      <a:pt x="79" y="5"/>
                      <a:pt x="79" y="5"/>
                    </a:cubicBezTo>
                    <a:cubicBezTo>
                      <a:pt x="89" y="5"/>
                      <a:pt x="96" y="13"/>
                      <a:pt x="96" y="22"/>
                    </a:cubicBezTo>
                    <a:cubicBezTo>
                      <a:pt x="96" y="31"/>
                      <a:pt x="89" y="39"/>
                      <a:pt x="79" y="39"/>
                    </a:cubicBezTo>
                    <a:close/>
                  </a:path>
                </a:pathLst>
              </a:custGeom>
              <a:solidFill>
                <a:srgbClr val="1177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淘宝网chenying0907出品 24"/>
              <p:cNvSpPr>
                <a:spLocks noEditPoints="1"/>
              </p:cNvSpPr>
              <p:nvPr/>
            </p:nvSpPr>
            <p:spPr bwMode="auto">
              <a:xfrm>
                <a:off x="3133726" y="3368676"/>
                <a:ext cx="90488" cy="112713"/>
              </a:xfrm>
              <a:custGeom>
                <a:avLst/>
                <a:gdLst>
                  <a:gd name="T0" fmla="*/ 12 w 24"/>
                  <a:gd name="T1" fmla="*/ 0 h 30"/>
                  <a:gd name="T2" fmla="*/ 0 w 24"/>
                  <a:gd name="T3" fmla="*/ 15 h 30"/>
                  <a:gd name="T4" fmla="*/ 12 w 24"/>
                  <a:gd name="T5" fmla="*/ 30 h 30"/>
                  <a:gd name="T6" fmla="*/ 24 w 24"/>
                  <a:gd name="T7" fmla="*/ 15 h 30"/>
                  <a:gd name="T8" fmla="*/ 12 w 24"/>
                  <a:gd name="T9" fmla="*/ 0 h 30"/>
                  <a:gd name="T10" fmla="*/ 12 w 24"/>
                  <a:gd name="T11" fmla="*/ 28 h 30"/>
                  <a:gd name="T12" fmla="*/ 2 w 24"/>
                  <a:gd name="T13" fmla="*/ 15 h 30"/>
                  <a:gd name="T14" fmla="*/ 12 w 24"/>
                  <a:gd name="T15" fmla="*/ 2 h 30"/>
                  <a:gd name="T16" fmla="*/ 22 w 24"/>
                  <a:gd name="T17" fmla="*/ 15 h 30"/>
                  <a:gd name="T18" fmla="*/ 12 w 24"/>
                  <a:gd name="T1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0">
                    <a:moveTo>
                      <a:pt x="12" y="0"/>
                    </a:moveTo>
                    <a:cubicBezTo>
                      <a:pt x="5" y="0"/>
                      <a:pt x="0" y="7"/>
                      <a:pt x="0" y="15"/>
                    </a:cubicBezTo>
                    <a:cubicBezTo>
                      <a:pt x="0" y="24"/>
                      <a:pt x="5" y="30"/>
                      <a:pt x="12" y="30"/>
                    </a:cubicBezTo>
                    <a:cubicBezTo>
                      <a:pt x="19" y="30"/>
                      <a:pt x="24" y="24"/>
                      <a:pt x="24" y="15"/>
                    </a:cubicBezTo>
                    <a:cubicBezTo>
                      <a:pt x="24" y="7"/>
                      <a:pt x="19" y="0"/>
                      <a:pt x="12" y="0"/>
                    </a:cubicBezTo>
                    <a:close/>
                    <a:moveTo>
                      <a:pt x="12" y="28"/>
                    </a:moveTo>
                    <a:cubicBezTo>
                      <a:pt x="7" y="28"/>
                      <a:pt x="2" y="22"/>
                      <a:pt x="2" y="15"/>
                    </a:cubicBezTo>
                    <a:cubicBezTo>
                      <a:pt x="2" y="8"/>
                      <a:pt x="7" y="2"/>
                      <a:pt x="12" y="2"/>
                    </a:cubicBezTo>
                    <a:cubicBezTo>
                      <a:pt x="17" y="2"/>
                      <a:pt x="22" y="8"/>
                      <a:pt x="22" y="15"/>
                    </a:cubicBezTo>
                    <a:cubicBezTo>
                      <a:pt x="22" y="22"/>
                      <a:pt x="17" y="28"/>
                      <a:pt x="12" y="28"/>
                    </a:cubicBezTo>
                    <a:close/>
                  </a:path>
                </a:pathLst>
              </a:custGeom>
              <a:solidFill>
                <a:srgbClr val="1177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8" name="淘宝网chenying0907出品 55"/>
          <p:cNvGrpSpPr/>
          <p:nvPr/>
        </p:nvGrpSpPr>
        <p:grpSpPr>
          <a:xfrm>
            <a:off x="5166726" y="2978186"/>
            <a:ext cx="1319470" cy="817700"/>
            <a:chOff x="5580063" y="2992438"/>
            <a:chExt cx="1465262" cy="908050"/>
          </a:xfrm>
        </p:grpSpPr>
        <p:sp>
          <p:nvSpPr>
            <p:cNvPr id="49" name="淘宝网chenying0907出品 29"/>
            <p:cNvSpPr/>
            <p:nvPr/>
          </p:nvSpPr>
          <p:spPr bwMode="auto">
            <a:xfrm>
              <a:off x="5580063" y="2992438"/>
              <a:ext cx="1465262" cy="908050"/>
            </a:xfrm>
            <a:custGeom>
              <a:avLst/>
              <a:gdLst>
                <a:gd name="T0" fmla="*/ 0 w 391"/>
                <a:gd name="T1" fmla="*/ 20 h 242"/>
                <a:gd name="T2" fmla="*/ 153 w 391"/>
                <a:gd name="T3" fmla="*/ 88 h 242"/>
                <a:gd name="T4" fmla="*/ 149 w 391"/>
                <a:gd name="T5" fmla="*/ 121 h 242"/>
                <a:gd name="T6" fmla="*/ 270 w 391"/>
                <a:gd name="T7" fmla="*/ 242 h 242"/>
                <a:gd name="T8" fmla="*/ 391 w 391"/>
                <a:gd name="T9" fmla="*/ 121 h 242"/>
                <a:gd name="T10" fmla="*/ 270 w 391"/>
                <a:gd name="T11" fmla="*/ 0 h 242"/>
                <a:gd name="T12" fmla="*/ 166 w 391"/>
                <a:gd name="T13" fmla="*/ 58 h 242"/>
                <a:gd name="T14" fmla="*/ 0 w 391"/>
                <a:gd name="T15" fmla="*/ 2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242">
                  <a:moveTo>
                    <a:pt x="0" y="20"/>
                  </a:moveTo>
                  <a:cubicBezTo>
                    <a:pt x="153" y="88"/>
                    <a:pt x="153" y="88"/>
                    <a:pt x="153" y="88"/>
                  </a:cubicBezTo>
                  <a:cubicBezTo>
                    <a:pt x="150" y="98"/>
                    <a:pt x="149" y="109"/>
                    <a:pt x="149" y="121"/>
                  </a:cubicBezTo>
                  <a:cubicBezTo>
                    <a:pt x="149" y="187"/>
                    <a:pt x="203" y="242"/>
                    <a:pt x="270" y="242"/>
                  </a:cubicBezTo>
                  <a:cubicBezTo>
                    <a:pt x="336" y="242"/>
                    <a:pt x="391" y="187"/>
                    <a:pt x="391" y="121"/>
                  </a:cubicBezTo>
                  <a:cubicBezTo>
                    <a:pt x="391" y="54"/>
                    <a:pt x="336" y="0"/>
                    <a:pt x="270" y="0"/>
                  </a:cubicBezTo>
                  <a:cubicBezTo>
                    <a:pt x="226" y="0"/>
                    <a:pt x="187" y="23"/>
                    <a:pt x="166" y="58"/>
                  </a:cubicBezTo>
                  <a:lnTo>
                    <a:pt x="0" y="20"/>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50" name="淘宝网chenying0907出品 30"/>
            <p:cNvSpPr>
              <a:spLocks noEditPoints="1"/>
            </p:cNvSpPr>
            <p:nvPr/>
          </p:nvSpPr>
          <p:spPr bwMode="auto">
            <a:xfrm>
              <a:off x="6380163" y="3203451"/>
              <a:ext cx="446087" cy="442913"/>
            </a:xfrm>
            <a:custGeom>
              <a:avLst/>
              <a:gdLst>
                <a:gd name="T0" fmla="*/ 110 w 119"/>
                <a:gd name="T1" fmla="*/ 54 h 118"/>
                <a:gd name="T2" fmla="*/ 110 w 119"/>
                <a:gd name="T3" fmla="*/ 35 h 118"/>
                <a:gd name="T4" fmla="*/ 110 w 119"/>
                <a:gd name="T5" fmla="*/ 23 h 118"/>
                <a:gd name="T6" fmla="*/ 110 w 119"/>
                <a:gd name="T7" fmla="*/ 12 h 118"/>
                <a:gd name="T8" fmla="*/ 95 w 119"/>
                <a:gd name="T9" fmla="*/ 3 h 118"/>
                <a:gd name="T10" fmla="*/ 89 w 119"/>
                <a:gd name="T11" fmla="*/ 0 h 118"/>
                <a:gd name="T12" fmla="*/ 14 w 119"/>
                <a:gd name="T13" fmla="*/ 12 h 118"/>
                <a:gd name="T14" fmla="*/ 0 w 119"/>
                <a:gd name="T15" fmla="*/ 24 h 118"/>
                <a:gd name="T16" fmla="*/ 14 w 119"/>
                <a:gd name="T17" fmla="*/ 118 h 118"/>
                <a:gd name="T18" fmla="*/ 110 w 119"/>
                <a:gd name="T19" fmla="*/ 90 h 118"/>
                <a:gd name="T20" fmla="*/ 113 w 119"/>
                <a:gd name="T21" fmla="*/ 90 h 118"/>
                <a:gd name="T22" fmla="*/ 119 w 119"/>
                <a:gd name="T23" fmla="*/ 84 h 118"/>
                <a:gd name="T24" fmla="*/ 112 w 119"/>
                <a:gd name="T25" fmla="*/ 54 h 118"/>
                <a:gd name="T26" fmla="*/ 116 w 119"/>
                <a:gd name="T27" fmla="*/ 84 h 118"/>
                <a:gd name="T28" fmla="*/ 113 w 119"/>
                <a:gd name="T29" fmla="*/ 88 h 118"/>
                <a:gd name="T30" fmla="*/ 84 w 119"/>
                <a:gd name="T31" fmla="*/ 79 h 118"/>
                <a:gd name="T32" fmla="*/ 94 w 119"/>
                <a:gd name="T33" fmla="*/ 67 h 118"/>
                <a:gd name="T34" fmla="*/ 112 w 119"/>
                <a:gd name="T35" fmla="*/ 67 h 118"/>
                <a:gd name="T36" fmla="*/ 14 w 119"/>
                <a:gd name="T37" fmla="*/ 116 h 118"/>
                <a:gd name="T38" fmla="*/ 3 w 119"/>
                <a:gd name="T39" fmla="*/ 33 h 118"/>
                <a:gd name="T40" fmla="*/ 108 w 119"/>
                <a:gd name="T41" fmla="*/ 38 h 118"/>
                <a:gd name="T42" fmla="*/ 108 w 119"/>
                <a:gd name="T43" fmla="*/ 64 h 118"/>
                <a:gd name="T44" fmla="*/ 81 w 119"/>
                <a:gd name="T45" fmla="*/ 77 h 118"/>
                <a:gd name="T46" fmla="*/ 94 w 119"/>
                <a:gd name="T47" fmla="*/ 90 h 118"/>
                <a:gd name="T48" fmla="*/ 108 w 119"/>
                <a:gd name="T49" fmla="*/ 116 h 118"/>
                <a:gd name="T50" fmla="*/ 14 w 119"/>
                <a:gd name="T51" fmla="*/ 14 h 118"/>
                <a:gd name="T52" fmla="*/ 27 w 119"/>
                <a:gd name="T53" fmla="*/ 18 h 118"/>
                <a:gd name="T54" fmla="*/ 7 w 119"/>
                <a:gd name="T55" fmla="*/ 23 h 118"/>
                <a:gd name="T56" fmla="*/ 7 w 119"/>
                <a:gd name="T57" fmla="*/ 33 h 118"/>
                <a:gd name="T58" fmla="*/ 6 w 119"/>
                <a:gd name="T59" fmla="*/ 32 h 118"/>
                <a:gd name="T60" fmla="*/ 5 w 119"/>
                <a:gd name="T61" fmla="*/ 31 h 118"/>
                <a:gd name="T62" fmla="*/ 5 w 119"/>
                <a:gd name="T63" fmla="*/ 30 h 118"/>
                <a:gd name="T64" fmla="*/ 4 w 119"/>
                <a:gd name="T65" fmla="*/ 29 h 118"/>
                <a:gd name="T66" fmla="*/ 4 w 119"/>
                <a:gd name="T67" fmla="*/ 28 h 118"/>
                <a:gd name="T68" fmla="*/ 3 w 119"/>
                <a:gd name="T69" fmla="*/ 26 h 118"/>
                <a:gd name="T70" fmla="*/ 3 w 119"/>
                <a:gd name="T71" fmla="*/ 25 h 118"/>
                <a:gd name="T72" fmla="*/ 3 w 119"/>
                <a:gd name="T73" fmla="*/ 25 h 118"/>
                <a:gd name="T74" fmla="*/ 92 w 119"/>
                <a:gd name="T75" fmla="*/ 4 h 118"/>
                <a:gd name="T76" fmla="*/ 16 w 119"/>
                <a:gd name="T77" fmla="*/ 34 h 118"/>
                <a:gd name="T78" fmla="*/ 15 w 119"/>
                <a:gd name="T79" fmla="*/ 24 h 118"/>
                <a:gd name="T80" fmla="*/ 92 w 119"/>
                <a:gd name="T81" fmla="*/ 4 h 118"/>
                <a:gd name="T82" fmla="*/ 11 w 119"/>
                <a:gd name="T83" fmla="*/ 27 h 118"/>
                <a:gd name="T84" fmla="*/ 10 w 119"/>
                <a:gd name="T85" fmla="*/ 29 h 118"/>
                <a:gd name="T86" fmla="*/ 11 w 119"/>
                <a:gd name="T87" fmla="*/ 26 h 118"/>
                <a:gd name="T88" fmla="*/ 98 w 119"/>
                <a:gd name="T89" fmla="*/ 27 h 118"/>
                <a:gd name="T90" fmla="*/ 69 w 119"/>
                <a:gd name="T91" fmla="*/ 35 h 118"/>
                <a:gd name="T92" fmla="*/ 102 w 119"/>
                <a:gd name="T93" fmla="*/ 29 h 118"/>
                <a:gd name="T94" fmla="*/ 108 w 119"/>
                <a:gd name="T95" fmla="*/ 26 h 118"/>
                <a:gd name="T96" fmla="*/ 108 w 119"/>
                <a:gd name="T97" fmla="*/ 18 h 118"/>
                <a:gd name="T98" fmla="*/ 98 w 119"/>
                <a:gd name="T99" fmla="*/ 14 h 118"/>
                <a:gd name="T100" fmla="*/ 108 w 119"/>
                <a:gd name="T101" fmla="*/ 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9" h="118">
                  <a:moveTo>
                    <a:pt x="112" y="54"/>
                  </a:moveTo>
                  <a:cubicBezTo>
                    <a:pt x="110" y="54"/>
                    <a:pt x="110" y="54"/>
                    <a:pt x="110" y="54"/>
                  </a:cubicBezTo>
                  <a:cubicBezTo>
                    <a:pt x="110" y="38"/>
                    <a:pt x="110" y="38"/>
                    <a:pt x="110" y="38"/>
                  </a:cubicBezTo>
                  <a:cubicBezTo>
                    <a:pt x="110" y="35"/>
                    <a:pt x="110" y="35"/>
                    <a:pt x="110" y="35"/>
                  </a:cubicBezTo>
                  <a:cubicBezTo>
                    <a:pt x="110" y="29"/>
                    <a:pt x="110" y="29"/>
                    <a:pt x="110" y="29"/>
                  </a:cubicBezTo>
                  <a:cubicBezTo>
                    <a:pt x="110" y="23"/>
                    <a:pt x="110" y="23"/>
                    <a:pt x="110" y="23"/>
                  </a:cubicBezTo>
                  <a:cubicBezTo>
                    <a:pt x="110" y="18"/>
                    <a:pt x="110" y="18"/>
                    <a:pt x="110" y="18"/>
                  </a:cubicBezTo>
                  <a:cubicBezTo>
                    <a:pt x="110" y="12"/>
                    <a:pt x="110" y="12"/>
                    <a:pt x="110" y="12"/>
                  </a:cubicBezTo>
                  <a:cubicBezTo>
                    <a:pt x="97" y="12"/>
                    <a:pt x="97" y="12"/>
                    <a:pt x="97" y="12"/>
                  </a:cubicBezTo>
                  <a:cubicBezTo>
                    <a:pt x="95" y="3"/>
                    <a:pt x="95" y="3"/>
                    <a:pt x="95" y="3"/>
                  </a:cubicBezTo>
                  <a:cubicBezTo>
                    <a:pt x="94" y="2"/>
                    <a:pt x="92" y="0"/>
                    <a:pt x="90" y="0"/>
                  </a:cubicBezTo>
                  <a:cubicBezTo>
                    <a:pt x="90" y="0"/>
                    <a:pt x="89" y="0"/>
                    <a:pt x="89" y="0"/>
                  </a:cubicBezTo>
                  <a:cubicBezTo>
                    <a:pt x="49" y="12"/>
                    <a:pt x="49" y="12"/>
                    <a:pt x="49" y="12"/>
                  </a:cubicBezTo>
                  <a:cubicBezTo>
                    <a:pt x="14" y="12"/>
                    <a:pt x="14" y="12"/>
                    <a:pt x="14" y="12"/>
                  </a:cubicBezTo>
                  <a:cubicBezTo>
                    <a:pt x="6" y="12"/>
                    <a:pt x="1" y="17"/>
                    <a:pt x="0" y="24"/>
                  </a:cubicBezTo>
                  <a:cubicBezTo>
                    <a:pt x="0" y="24"/>
                    <a:pt x="0" y="24"/>
                    <a:pt x="0" y="24"/>
                  </a:cubicBezTo>
                  <a:cubicBezTo>
                    <a:pt x="0" y="105"/>
                    <a:pt x="0" y="105"/>
                    <a:pt x="0" y="105"/>
                  </a:cubicBezTo>
                  <a:cubicBezTo>
                    <a:pt x="0" y="112"/>
                    <a:pt x="6" y="118"/>
                    <a:pt x="14" y="118"/>
                  </a:cubicBezTo>
                  <a:cubicBezTo>
                    <a:pt x="110" y="118"/>
                    <a:pt x="110" y="118"/>
                    <a:pt x="110" y="118"/>
                  </a:cubicBezTo>
                  <a:cubicBezTo>
                    <a:pt x="110" y="90"/>
                    <a:pt x="110" y="90"/>
                    <a:pt x="110" y="90"/>
                  </a:cubicBezTo>
                  <a:cubicBezTo>
                    <a:pt x="113" y="90"/>
                    <a:pt x="113" y="90"/>
                    <a:pt x="113" y="90"/>
                  </a:cubicBezTo>
                  <a:cubicBezTo>
                    <a:pt x="113" y="90"/>
                    <a:pt x="113" y="90"/>
                    <a:pt x="113" y="90"/>
                  </a:cubicBezTo>
                  <a:cubicBezTo>
                    <a:pt x="113" y="90"/>
                    <a:pt x="113" y="90"/>
                    <a:pt x="113" y="90"/>
                  </a:cubicBezTo>
                  <a:cubicBezTo>
                    <a:pt x="116" y="90"/>
                    <a:pt x="119" y="87"/>
                    <a:pt x="119" y="84"/>
                  </a:cubicBezTo>
                  <a:cubicBezTo>
                    <a:pt x="119" y="60"/>
                    <a:pt x="119" y="60"/>
                    <a:pt x="119" y="60"/>
                  </a:cubicBezTo>
                  <a:cubicBezTo>
                    <a:pt x="119" y="57"/>
                    <a:pt x="116" y="54"/>
                    <a:pt x="112" y="54"/>
                  </a:cubicBezTo>
                  <a:close/>
                  <a:moveTo>
                    <a:pt x="116" y="65"/>
                  </a:moveTo>
                  <a:cubicBezTo>
                    <a:pt x="116" y="84"/>
                    <a:pt x="116" y="84"/>
                    <a:pt x="116" y="84"/>
                  </a:cubicBezTo>
                  <a:cubicBezTo>
                    <a:pt x="116" y="86"/>
                    <a:pt x="115" y="87"/>
                    <a:pt x="113" y="88"/>
                  </a:cubicBezTo>
                  <a:cubicBezTo>
                    <a:pt x="113" y="88"/>
                    <a:pt x="113" y="88"/>
                    <a:pt x="113" y="88"/>
                  </a:cubicBezTo>
                  <a:cubicBezTo>
                    <a:pt x="94" y="88"/>
                    <a:pt x="94" y="88"/>
                    <a:pt x="94" y="88"/>
                  </a:cubicBezTo>
                  <a:cubicBezTo>
                    <a:pt x="89" y="88"/>
                    <a:pt x="84" y="84"/>
                    <a:pt x="84" y="79"/>
                  </a:cubicBezTo>
                  <a:cubicBezTo>
                    <a:pt x="84" y="78"/>
                    <a:pt x="84" y="78"/>
                    <a:pt x="84" y="77"/>
                  </a:cubicBezTo>
                  <a:cubicBezTo>
                    <a:pt x="84" y="71"/>
                    <a:pt x="88" y="67"/>
                    <a:pt x="94" y="67"/>
                  </a:cubicBezTo>
                  <a:cubicBezTo>
                    <a:pt x="108" y="67"/>
                    <a:pt x="108" y="67"/>
                    <a:pt x="108" y="67"/>
                  </a:cubicBezTo>
                  <a:cubicBezTo>
                    <a:pt x="112" y="67"/>
                    <a:pt x="112" y="67"/>
                    <a:pt x="112" y="67"/>
                  </a:cubicBezTo>
                  <a:cubicBezTo>
                    <a:pt x="114" y="67"/>
                    <a:pt x="115" y="66"/>
                    <a:pt x="116" y="65"/>
                  </a:cubicBezTo>
                  <a:close/>
                  <a:moveTo>
                    <a:pt x="14" y="116"/>
                  </a:moveTo>
                  <a:cubicBezTo>
                    <a:pt x="8" y="116"/>
                    <a:pt x="3" y="111"/>
                    <a:pt x="3" y="105"/>
                  </a:cubicBezTo>
                  <a:cubicBezTo>
                    <a:pt x="3" y="33"/>
                    <a:pt x="3" y="33"/>
                    <a:pt x="3" y="33"/>
                  </a:cubicBezTo>
                  <a:cubicBezTo>
                    <a:pt x="5" y="36"/>
                    <a:pt x="9" y="38"/>
                    <a:pt x="14" y="38"/>
                  </a:cubicBezTo>
                  <a:cubicBezTo>
                    <a:pt x="108" y="38"/>
                    <a:pt x="108" y="38"/>
                    <a:pt x="108" y="38"/>
                  </a:cubicBezTo>
                  <a:cubicBezTo>
                    <a:pt x="108" y="54"/>
                    <a:pt x="108" y="54"/>
                    <a:pt x="108" y="54"/>
                  </a:cubicBezTo>
                  <a:cubicBezTo>
                    <a:pt x="108" y="64"/>
                    <a:pt x="108" y="64"/>
                    <a:pt x="108" y="64"/>
                  </a:cubicBezTo>
                  <a:cubicBezTo>
                    <a:pt x="94" y="64"/>
                    <a:pt x="94" y="64"/>
                    <a:pt x="94" y="64"/>
                  </a:cubicBezTo>
                  <a:cubicBezTo>
                    <a:pt x="87" y="64"/>
                    <a:pt x="81" y="70"/>
                    <a:pt x="81" y="77"/>
                  </a:cubicBezTo>
                  <a:cubicBezTo>
                    <a:pt x="81" y="78"/>
                    <a:pt x="81" y="78"/>
                    <a:pt x="81" y="79"/>
                  </a:cubicBezTo>
                  <a:cubicBezTo>
                    <a:pt x="82" y="85"/>
                    <a:pt x="88" y="90"/>
                    <a:pt x="94" y="90"/>
                  </a:cubicBezTo>
                  <a:cubicBezTo>
                    <a:pt x="108" y="90"/>
                    <a:pt x="108" y="90"/>
                    <a:pt x="108" y="90"/>
                  </a:cubicBezTo>
                  <a:cubicBezTo>
                    <a:pt x="108" y="116"/>
                    <a:pt x="108" y="116"/>
                    <a:pt x="108" y="116"/>
                  </a:cubicBezTo>
                  <a:lnTo>
                    <a:pt x="14" y="116"/>
                  </a:lnTo>
                  <a:close/>
                  <a:moveTo>
                    <a:pt x="14" y="14"/>
                  </a:moveTo>
                  <a:cubicBezTo>
                    <a:pt x="39" y="14"/>
                    <a:pt x="39" y="14"/>
                    <a:pt x="39" y="14"/>
                  </a:cubicBezTo>
                  <a:cubicBezTo>
                    <a:pt x="27" y="18"/>
                    <a:pt x="27" y="18"/>
                    <a:pt x="27" y="18"/>
                  </a:cubicBezTo>
                  <a:cubicBezTo>
                    <a:pt x="7" y="18"/>
                    <a:pt x="7" y="18"/>
                    <a:pt x="7" y="18"/>
                  </a:cubicBezTo>
                  <a:cubicBezTo>
                    <a:pt x="7" y="23"/>
                    <a:pt x="7" y="23"/>
                    <a:pt x="7" y="23"/>
                  </a:cubicBezTo>
                  <a:cubicBezTo>
                    <a:pt x="7" y="29"/>
                    <a:pt x="7" y="29"/>
                    <a:pt x="7" y="29"/>
                  </a:cubicBezTo>
                  <a:cubicBezTo>
                    <a:pt x="7" y="33"/>
                    <a:pt x="7" y="33"/>
                    <a:pt x="7" y="33"/>
                  </a:cubicBezTo>
                  <a:cubicBezTo>
                    <a:pt x="7" y="33"/>
                    <a:pt x="7" y="33"/>
                    <a:pt x="7" y="33"/>
                  </a:cubicBezTo>
                  <a:cubicBezTo>
                    <a:pt x="7" y="33"/>
                    <a:pt x="6" y="32"/>
                    <a:pt x="6" y="32"/>
                  </a:cubicBezTo>
                  <a:cubicBezTo>
                    <a:pt x="6" y="32"/>
                    <a:pt x="6" y="32"/>
                    <a:pt x="6" y="32"/>
                  </a:cubicBezTo>
                  <a:cubicBezTo>
                    <a:pt x="6" y="32"/>
                    <a:pt x="5" y="31"/>
                    <a:pt x="5" y="31"/>
                  </a:cubicBezTo>
                  <a:cubicBezTo>
                    <a:pt x="5" y="31"/>
                    <a:pt x="5" y="31"/>
                    <a:pt x="5" y="31"/>
                  </a:cubicBezTo>
                  <a:cubicBezTo>
                    <a:pt x="5" y="31"/>
                    <a:pt x="5" y="30"/>
                    <a:pt x="5" y="30"/>
                  </a:cubicBezTo>
                  <a:cubicBezTo>
                    <a:pt x="4" y="30"/>
                    <a:pt x="4" y="30"/>
                    <a:pt x="4" y="29"/>
                  </a:cubicBezTo>
                  <a:cubicBezTo>
                    <a:pt x="4" y="29"/>
                    <a:pt x="4" y="29"/>
                    <a:pt x="4" y="29"/>
                  </a:cubicBezTo>
                  <a:cubicBezTo>
                    <a:pt x="4" y="29"/>
                    <a:pt x="4" y="29"/>
                    <a:pt x="4" y="28"/>
                  </a:cubicBezTo>
                  <a:cubicBezTo>
                    <a:pt x="4" y="28"/>
                    <a:pt x="4" y="28"/>
                    <a:pt x="4" y="28"/>
                  </a:cubicBezTo>
                  <a:cubicBezTo>
                    <a:pt x="3" y="27"/>
                    <a:pt x="3" y="27"/>
                    <a:pt x="3" y="27"/>
                  </a:cubicBezTo>
                  <a:cubicBezTo>
                    <a:pt x="3" y="27"/>
                    <a:pt x="3" y="26"/>
                    <a:pt x="3" y="26"/>
                  </a:cubicBezTo>
                  <a:cubicBezTo>
                    <a:pt x="3" y="26"/>
                    <a:pt x="3" y="26"/>
                    <a:pt x="3" y="25"/>
                  </a:cubicBezTo>
                  <a:cubicBezTo>
                    <a:pt x="3" y="25"/>
                    <a:pt x="3" y="25"/>
                    <a:pt x="3" y="25"/>
                  </a:cubicBezTo>
                  <a:cubicBezTo>
                    <a:pt x="3" y="25"/>
                    <a:pt x="3" y="25"/>
                    <a:pt x="3" y="25"/>
                  </a:cubicBezTo>
                  <a:cubicBezTo>
                    <a:pt x="3" y="25"/>
                    <a:pt x="3" y="25"/>
                    <a:pt x="3" y="25"/>
                  </a:cubicBezTo>
                  <a:cubicBezTo>
                    <a:pt x="3" y="19"/>
                    <a:pt x="8" y="14"/>
                    <a:pt x="14" y="14"/>
                  </a:cubicBezTo>
                  <a:close/>
                  <a:moveTo>
                    <a:pt x="92" y="4"/>
                  </a:moveTo>
                  <a:cubicBezTo>
                    <a:pt x="94" y="12"/>
                    <a:pt x="94" y="12"/>
                    <a:pt x="94" y="12"/>
                  </a:cubicBezTo>
                  <a:cubicBezTo>
                    <a:pt x="16" y="34"/>
                    <a:pt x="16" y="34"/>
                    <a:pt x="16" y="34"/>
                  </a:cubicBezTo>
                  <a:cubicBezTo>
                    <a:pt x="14" y="26"/>
                    <a:pt x="14" y="26"/>
                    <a:pt x="14" y="26"/>
                  </a:cubicBezTo>
                  <a:cubicBezTo>
                    <a:pt x="14" y="25"/>
                    <a:pt x="14" y="24"/>
                    <a:pt x="15" y="24"/>
                  </a:cubicBezTo>
                  <a:cubicBezTo>
                    <a:pt x="90" y="3"/>
                    <a:pt x="90" y="3"/>
                    <a:pt x="90" y="3"/>
                  </a:cubicBezTo>
                  <a:cubicBezTo>
                    <a:pt x="91" y="3"/>
                    <a:pt x="92" y="3"/>
                    <a:pt x="92" y="4"/>
                  </a:cubicBezTo>
                  <a:close/>
                  <a:moveTo>
                    <a:pt x="11" y="26"/>
                  </a:moveTo>
                  <a:cubicBezTo>
                    <a:pt x="11" y="26"/>
                    <a:pt x="11" y="26"/>
                    <a:pt x="11" y="27"/>
                  </a:cubicBezTo>
                  <a:cubicBezTo>
                    <a:pt x="12" y="29"/>
                    <a:pt x="12" y="29"/>
                    <a:pt x="12" y="29"/>
                  </a:cubicBezTo>
                  <a:cubicBezTo>
                    <a:pt x="10" y="29"/>
                    <a:pt x="10" y="29"/>
                    <a:pt x="10" y="29"/>
                  </a:cubicBezTo>
                  <a:cubicBezTo>
                    <a:pt x="10" y="26"/>
                    <a:pt x="10" y="26"/>
                    <a:pt x="10" y="26"/>
                  </a:cubicBezTo>
                  <a:lnTo>
                    <a:pt x="11" y="26"/>
                  </a:lnTo>
                  <a:close/>
                  <a:moveTo>
                    <a:pt x="69" y="35"/>
                  </a:moveTo>
                  <a:cubicBezTo>
                    <a:pt x="98" y="27"/>
                    <a:pt x="98" y="27"/>
                    <a:pt x="98" y="27"/>
                  </a:cubicBezTo>
                  <a:cubicBezTo>
                    <a:pt x="101" y="35"/>
                    <a:pt x="101" y="35"/>
                    <a:pt x="101" y="35"/>
                  </a:cubicBezTo>
                  <a:lnTo>
                    <a:pt x="69" y="35"/>
                  </a:lnTo>
                  <a:close/>
                  <a:moveTo>
                    <a:pt x="108" y="29"/>
                  </a:moveTo>
                  <a:cubicBezTo>
                    <a:pt x="102" y="29"/>
                    <a:pt x="102" y="29"/>
                    <a:pt x="102" y="29"/>
                  </a:cubicBezTo>
                  <a:cubicBezTo>
                    <a:pt x="101" y="26"/>
                    <a:pt x="101" y="26"/>
                    <a:pt x="101" y="26"/>
                  </a:cubicBezTo>
                  <a:cubicBezTo>
                    <a:pt x="108" y="26"/>
                    <a:pt x="108" y="26"/>
                    <a:pt x="108" y="26"/>
                  </a:cubicBezTo>
                  <a:lnTo>
                    <a:pt x="108" y="29"/>
                  </a:lnTo>
                  <a:close/>
                  <a:moveTo>
                    <a:pt x="108" y="18"/>
                  </a:moveTo>
                  <a:cubicBezTo>
                    <a:pt x="98" y="18"/>
                    <a:pt x="98" y="18"/>
                    <a:pt x="98" y="18"/>
                  </a:cubicBezTo>
                  <a:cubicBezTo>
                    <a:pt x="98" y="14"/>
                    <a:pt x="98" y="14"/>
                    <a:pt x="98" y="14"/>
                  </a:cubicBezTo>
                  <a:cubicBezTo>
                    <a:pt x="108" y="14"/>
                    <a:pt x="108" y="14"/>
                    <a:pt x="108" y="14"/>
                  </a:cubicBezTo>
                  <a:lnTo>
                    <a:pt x="108" y="18"/>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Oval 31"/>
            <p:cNvSpPr>
              <a:spLocks noChangeArrowheads="1"/>
            </p:cNvSpPr>
            <p:nvPr/>
          </p:nvSpPr>
          <p:spPr bwMode="auto">
            <a:xfrm>
              <a:off x="6697663" y="3446463"/>
              <a:ext cx="55562" cy="52388"/>
            </a:xfrm>
            <a:prstGeom prst="ellipse">
              <a:avLst/>
            </a:prstGeom>
            <a:solidFill>
              <a:srgbClr val="EB751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52" name="淘宝网chenying0907出品 59"/>
          <p:cNvGrpSpPr/>
          <p:nvPr/>
        </p:nvGrpSpPr>
        <p:grpSpPr>
          <a:xfrm>
            <a:off x="5302978" y="1628118"/>
            <a:ext cx="936353" cy="816271"/>
            <a:chOff x="6207125" y="1120775"/>
            <a:chExt cx="1039813" cy="906463"/>
          </a:xfrm>
        </p:grpSpPr>
        <p:sp>
          <p:nvSpPr>
            <p:cNvPr id="53" name="淘宝网chenying0907出品 36"/>
            <p:cNvSpPr/>
            <p:nvPr/>
          </p:nvSpPr>
          <p:spPr bwMode="auto">
            <a:xfrm>
              <a:off x="6207125" y="1120775"/>
              <a:ext cx="1039813" cy="906463"/>
            </a:xfrm>
            <a:custGeom>
              <a:avLst/>
              <a:gdLst>
                <a:gd name="T0" fmla="*/ 0 w 277"/>
                <a:gd name="T1" fmla="*/ 167 h 242"/>
                <a:gd name="T2" fmla="*/ 43 w 277"/>
                <a:gd name="T3" fmla="*/ 167 h 242"/>
                <a:gd name="T4" fmla="*/ 156 w 277"/>
                <a:gd name="T5" fmla="*/ 242 h 242"/>
                <a:gd name="T6" fmla="*/ 277 w 277"/>
                <a:gd name="T7" fmla="*/ 121 h 242"/>
                <a:gd name="T8" fmla="*/ 156 w 277"/>
                <a:gd name="T9" fmla="*/ 0 h 242"/>
                <a:gd name="T10" fmla="*/ 35 w 277"/>
                <a:gd name="T11" fmla="*/ 121 h 242"/>
                <a:gd name="T12" fmla="*/ 36 w 277"/>
                <a:gd name="T13" fmla="*/ 142 h 242"/>
                <a:gd name="T14" fmla="*/ 0 w 277"/>
                <a:gd name="T15" fmla="*/ 167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242">
                  <a:moveTo>
                    <a:pt x="0" y="167"/>
                  </a:moveTo>
                  <a:cubicBezTo>
                    <a:pt x="43" y="167"/>
                    <a:pt x="43" y="167"/>
                    <a:pt x="43" y="167"/>
                  </a:cubicBezTo>
                  <a:cubicBezTo>
                    <a:pt x="62" y="211"/>
                    <a:pt x="105" y="242"/>
                    <a:pt x="156" y="242"/>
                  </a:cubicBezTo>
                  <a:cubicBezTo>
                    <a:pt x="222" y="242"/>
                    <a:pt x="277" y="188"/>
                    <a:pt x="277" y="121"/>
                  </a:cubicBezTo>
                  <a:cubicBezTo>
                    <a:pt x="277" y="54"/>
                    <a:pt x="222" y="0"/>
                    <a:pt x="156" y="0"/>
                  </a:cubicBezTo>
                  <a:cubicBezTo>
                    <a:pt x="89" y="0"/>
                    <a:pt x="35" y="54"/>
                    <a:pt x="35" y="121"/>
                  </a:cubicBezTo>
                  <a:cubicBezTo>
                    <a:pt x="35" y="128"/>
                    <a:pt x="35" y="136"/>
                    <a:pt x="36" y="142"/>
                  </a:cubicBezTo>
                  <a:lnTo>
                    <a:pt x="0" y="167"/>
                  </a:lnTo>
                  <a:close/>
                </a:path>
              </a:pathLst>
            </a:cu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p>
          </p:txBody>
        </p:sp>
        <p:sp>
          <p:nvSpPr>
            <p:cNvPr id="54" name="淘宝网chenying0907出品 37"/>
            <p:cNvSpPr>
              <a:spLocks noEditPoints="1"/>
            </p:cNvSpPr>
            <p:nvPr/>
          </p:nvSpPr>
          <p:spPr bwMode="auto">
            <a:xfrm>
              <a:off x="6583363" y="1352550"/>
              <a:ext cx="441325" cy="442913"/>
            </a:xfrm>
            <a:custGeom>
              <a:avLst/>
              <a:gdLst>
                <a:gd name="T0" fmla="*/ 20 w 118"/>
                <a:gd name="T1" fmla="*/ 16 h 118"/>
                <a:gd name="T2" fmla="*/ 0 w 118"/>
                <a:gd name="T3" fmla="*/ 76 h 118"/>
                <a:gd name="T4" fmla="*/ 0 w 118"/>
                <a:gd name="T5" fmla="*/ 85 h 118"/>
                <a:gd name="T6" fmla="*/ 0 w 118"/>
                <a:gd name="T7" fmla="*/ 97 h 118"/>
                <a:gd name="T8" fmla="*/ 55 w 118"/>
                <a:gd name="T9" fmla="*/ 118 h 118"/>
                <a:gd name="T10" fmla="*/ 98 w 118"/>
                <a:gd name="T11" fmla="*/ 97 h 118"/>
                <a:gd name="T12" fmla="*/ 118 w 118"/>
                <a:gd name="T13" fmla="*/ 88 h 118"/>
                <a:gd name="T14" fmla="*/ 118 w 118"/>
                <a:gd name="T15" fmla="*/ 78 h 118"/>
                <a:gd name="T16" fmla="*/ 80 w 118"/>
                <a:gd name="T17" fmla="*/ 20 h 118"/>
                <a:gd name="T18" fmla="*/ 116 w 118"/>
                <a:gd name="T19" fmla="*/ 95 h 118"/>
                <a:gd name="T20" fmla="*/ 116 w 118"/>
                <a:gd name="T21" fmla="*/ 91 h 118"/>
                <a:gd name="T22" fmla="*/ 64 w 118"/>
                <a:gd name="T23" fmla="*/ 116 h 118"/>
                <a:gd name="T24" fmla="*/ 72 w 118"/>
                <a:gd name="T25" fmla="*/ 76 h 118"/>
                <a:gd name="T26" fmla="*/ 104 w 118"/>
                <a:gd name="T27" fmla="*/ 76 h 118"/>
                <a:gd name="T28" fmla="*/ 82 w 118"/>
                <a:gd name="T29" fmla="*/ 116 h 118"/>
                <a:gd name="T30" fmla="*/ 20 w 118"/>
                <a:gd name="T31" fmla="*/ 27 h 118"/>
                <a:gd name="T32" fmla="*/ 8 w 118"/>
                <a:gd name="T33" fmla="*/ 62 h 118"/>
                <a:gd name="T34" fmla="*/ 59 w 118"/>
                <a:gd name="T35" fmla="*/ 76 h 118"/>
                <a:gd name="T36" fmla="*/ 37 w 118"/>
                <a:gd name="T37" fmla="*/ 3 h 118"/>
                <a:gd name="T38" fmla="*/ 47 w 118"/>
                <a:gd name="T39" fmla="*/ 16 h 118"/>
                <a:gd name="T40" fmla="*/ 35 w 118"/>
                <a:gd name="T41" fmla="*/ 63 h 118"/>
                <a:gd name="T42" fmla="*/ 23 w 118"/>
                <a:gd name="T43" fmla="*/ 16 h 118"/>
                <a:gd name="T44" fmla="*/ 84 w 118"/>
                <a:gd name="T45" fmla="*/ 52 h 118"/>
                <a:gd name="T46" fmla="*/ 48 w 118"/>
                <a:gd name="T47" fmla="*/ 54 h 118"/>
                <a:gd name="T48" fmla="*/ 59 w 118"/>
                <a:gd name="T49" fmla="*/ 34 h 118"/>
                <a:gd name="T50" fmla="*/ 86 w 118"/>
                <a:gd name="T51" fmla="*/ 32 h 118"/>
                <a:gd name="T52" fmla="*/ 50 w 118"/>
                <a:gd name="T53" fmla="*/ 52 h 118"/>
                <a:gd name="T54" fmla="*/ 59 w 118"/>
                <a:gd name="T55" fmla="*/ 36 h 118"/>
                <a:gd name="T56" fmla="*/ 50 w 118"/>
                <a:gd name="T57" fmla="*/ 52 h 118"/>
                <a:gd name="T58" fmla="*/ 20 w 118"/>
                <a:gd name="T59" fmla="*/ 37 h 118"/>
                <a:gd name="T60" fmla="*/ 34 w 118"/>
                <a:gd name="T61" fmla="*/ 66 h 118"/>
                <a:gd name="T62" fmla="*/ 15 w 118"/>
                <a:gd name="T63" fmla="*/ 47 h 118"/>
                <a:gd name="T64" fmla="*/ 69 w 118"/>
                <a:gd name="T65" fmla="*/ 82 h 118"/>
                <a:gd name="T66" fmla="*/ 3 w 118"/>
                <a:gd name="T67" fmla="*/ 85 h 118"/>
                <a:gd name="T68" fmla="*/ 3 w 118"/>
                <a:gd name="T69" fmla="*/ 88 h 118"/>
                <a:gd name="T70" fmla="*/ 69 w 118"/>
                <a:gd name="T71" fmla="*/ 91 h 118"/>
                <a:gd name="T72" fmla="*/ 3 w 118"/>
                <a:gd name="T73" fmla="*/ 91 h 118"/>
                <a:gd name="T74" fmla="*/ 98 w 118"/>
                <a:gd name="T75" fmla="*/ 85 h 118"/>
                <a:gd name="T76" fmla="*/ 116 w 118"/>
                <a:gd name="T77" fmla="*/ 82 h 118"/>
                <a:gd name="T78" fmla="*/ 116 w 118"/>
                <a:gd name="T79" fmla="*/ 78 h 118"/>
                <a:gd name="T80" fmla="*/ 108 w 118"/>
                <a:gd name="T81" fmla="*/ 76 h 118"/>
                <a:gd name="T82" fmla="*/ 111 w 118"/>
                <a:gd name="T83" fmla="*/ 36 h 118"/>
                <a:gd name="T84" fmla="*/ 50 w 118"/>
                <a:gd name="T8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 h="118">
                  <a:moveTo>
                    <a:pt x="63" y="0"/>
                  </a:moveTo>
                  <a:cubicBezTo>
                    <a:pt x="37" y="0"/>
                    <a:pt x="37" y="0"/>
                    <a:pt x="37" y="0"/>
                  </a:cubicBezTo>
                  <a:cubicBezTo>
                    <a:pt x="28" y="0"/>
                    <a:pt x="20" y="7"/>
                    <a:pt x="20" y="16"/>
                  </a:cubicBezTo>
                  <a:cubicBezTo>
                    <a:pt x="20" y="20"/>
                    <a:pt x="20" y="20"/>
                    <a:pt x="20" y="20"/>
                  </a:cubicBezTo>
                  <a:cubicBezTo>
                    <a:pt x="0" y="20"/>
                    <a:pt x="0" y="20"/>
                    <a:pt x="0" y="20"/>
                  </a:cubicBezTo>
                  <a:cubicBezTo>
                    <a:pt x="0" y="76"/>
                    <a:pt x="0" y="76"/>
                    <a:pt x="0" y="76"/>
                  </a:cubicBezTo>
                  <a:cubicBezTo>
                    <a:pt x="0" y="78"/>
                    <a:pt x="0" y="78"/>
                    <a:pt x="0" y="78"/>
                  </a:cubicBezTo>
                  <a:cubicBezTo>
                    <a:pt x="0" y="82"/>
                    <a:pt x="0" y="82"/>
                    <a:pt x="0" y="82"/>
                  </a:cubicBezTo>
                  <a:cubicBezTo>
                    <a:pt x="0" y="85"/>
                    <a:pt x="0" y="85"/>
                    <a:pt x="0" y="85"/>
                  </a:cubicBezTo>
                  <a:cubicBezTo>
                    <a:pt x="0" y="88"/>
                    <a:pt x="0" y="88"/>
                    <a:pt x="0" y="88"/>
                  </a:cubicBezTo>
                  <a:cubicBezTo>
                    <a:pt x="0" y="91"/>
                    <a:pt x="0" y="91"/>
                    <a:pt x="0" y="91"/>
                  </a:cubicBezTo>
                  <a:cubicBezTo>
                    <a:pt x="0" y="97"/>
                    <a:pt x="0" y="97"/>
                    <a:pt x="0" y="97"/>
                  </a:cubicBezTo>
                  <a:cubicBezTo>
                    <a:pt x="39" y="97"/>
                    <a:pt x="39" y="97"/>
                    <a:pt x="39" y="97"/>
                  </a:cubicBezTo>
                  <a:cubicBezTo>
                    <a:pt x="39" y="102"/>
                    <a:pt x="39" y="102"/>
                    <a:pt x="39" y="102"/>
                  </a:cubicBezTo>
                  <a:cubicBezTo>
                    <a:pt x="39" y="111"/>
                    <a:pt x="46" y="118"/>
                    <a:pt x="55" y="118"/>
                  </a:cubicBezTo>
                  <a:cubicBezTo>
                    <a:pt x="82" y="118"/>
                    <a:pt x="82" y="118"/>
                    <a:pt x="82" y="118"/>
                  </a:cubicBezTo>
                  <a:cubicBezTo>
                    <a:pt x="91" y="118"/>
                    <a:pt x="98" y="111"/>
                    <a:pt x="98" y="102"/>
                  </a:cubicBezTo>
                  <a:cubicBezTo>
                    <a:pt x="98" y="97"/>
                    <a:pt x="98" y="97"/>
                    <a:pt x="98" y="97"/>
                  </a:cubicBezTo>
                  <a:cubicBezTo>
                    <a:pt x="118" y="97"/>
                    <a:pt x="118" y="97"/>
                    <a:pt x="118" y="97"/>
                  </a:cubicBezTo>
                  <a:cubicBezTo>
                    <a:pt x="118" y="91"/>
                    <a:pt x="118" y="91"/>
                    <a:pt x="118" y="91"/>
                  </a:cubicBezTo>
                  <a:cubicBezTo>
                    <a:pt x="118" y="88"/>
                    <a:pt x="118" y="88"/>
                    <a:pt x="118" y="88"/>
                  </a:cubicBezTo>
                  <a:cubicBezTo>
                    <a:pt x="118" y="85"/>
                    <a:pt x="118" y="85"/>
                    <a:pt x="118" y="85"/>
                  </a:cubicBezTo>
                  <a:cubicBezTo>
                    <a:pt x="118" y="82"/>
                    <a:pt x="118" y="82"/>
                    <a:pt x="118" y="82"/>
                  </a:cubicBezTo>
                  <a:cubicBezTo>
                    <a:pt x="118" y="78"/>
                    <a:pt x="118" y="78"/>
                    <a:pt x="118" y="78"/>
                  </a:cubicBezTo>
                  <a:cubicBezTo>
                    <a:pt x="118" y="76"/>
                    <a:pt x="118" y="76"/>
                    <a:pt x="118" y="76"/>
                  </a:cubicBezTo>
                  <a:cubicBezTo>
                    <a:pt x="118" y="20"/>
                    <a:pt x="118" y="20"/>
                    <a:pt x="118" y="20"/>
                  </a:cubicBezTo>
                  <a:cubicBezTo>
                    <a:pt x="80" y="20"/>
                    <a:pt x="80" y="20"/>
                    <a:pt x="80" y="20"/>
                  </a:cubicBezTo>
                  <a:cubicBezTo>
                    <a:pt x="80" y="16"/>
                    <a:pt x="80" y="16"/>
                    <a:pt x="80" y="16"/>
                  </a:cubicBezTo>
                  <a:cubicBezTo>
                    <a:pt x="80" y="7"/>
                    <a:pt x="72" y="0"/>
                    <a:pt x="63" y="0"/>
                  </a:cubicBezTo>
                  <a:close/>
                  <a:moveTo>
                    <a:pt x="116" y="95"/>
                  </a:moveTo>
                  <a:cubicBezTo>
                    <a:pt x="98" y="95"/>
                    <a:pt x="98" y="95"/>
                    <a:pt x="98" y="95"/>
                  </a:cubicBezTo>
                  <a:cubicBezTo>
                    <a:pt x="98" y="91"/>
                    <a:pt x="98" y="91"/>
                    <a:pt x="98" y="91"/>
                  </a:cubicBezTo>
                  <a:cubicBezTo>
                    <a:pt x="116" y="91"/>
                    <a:pt x="116" y="91"/>
                    <a:pt x="116" y="91"/>
                  </a:cubicBezTo>
                  <a:lnTo>
                    <a:pt x="116" y="95"/>
                  </a:lnTo>
                  <a:close/>
                  <a:moveTo>
                    <a:pt x="82" y="116"/>
                  </a:moveTo>
                  <a:cubicBezTo>
                    <a:pt x="64" y="116"/>
                    <a:pt x="64" y="116"/>
                    <a:pt x="64" y="116"/>
                  </a:cubicBezTo>
                  <a:cubicBezTo>
                    <a:pt x="67" y="114"/>
                    <a:pt x="68" y="112"/>
                    <a:pt x="70" y="110"/>
                  </a:cubicBezTo>
                  <a:cubicBezTo>
                    <a:pt x="71" y="107"/>
                    <a:pt x="72" y="105"/>
                    <a:pt x="72" y="102"/>
                  </a:cubicBezTo>
                  <a:cubicBezTo>
                    <a:pt x="72" y="76"/>
                    <a:pt x="72" y="76"/>
                    <a:pt x="72" y="76"/>
                  </a:cubicBezTo>
                  <a:cubicBezTo>
                    <a:pt x="63" y="76"/>
                    <a:pt x="63" y="76"/>
                    <a:pt x="63" y="76"/>
                  </a:cubicBezTo>
                  <a:cubicBezTo>
                    <a:pt x="84" y="56"/>
                    <a:pt x="84" y="56"/>
                    <a:pt x="84" y="56"/>
                  </a:cubicBezTo>
                  <a:cubicBezTo>
                    <a:pt x="104" y="76"/>
                    <a:pt x="104" y="76"/>
                    <a:pt x="104" y="76"/>
                  </a:cubicBezTo>
                  <a:cubicBezTo>
                    <a:pt x="96" y="76"/>
                    <a:pt x="96" y="76"/>
                    <a:pt x="96" y="76"/>
                  </a:cubicBezTo>
                  <a:cubicBezTo>
                    <a:pt x="96" y="102"/>
                    <a:pt x="96" y="102"/>
                    <a:pt x="96" y="102"/>
                  </a:cubicBezTo>
                  <a:cubicBezTo>
                    <a:pt x="96" y="110"/>
                    <a:pt x="90" y="116"/>
                    <a:pt x="82" y="116"/>
                  </a:cubicBezTo>
                  <a:close/>
                  <a:moveTo>
                    <a:pt x="3" y="22"/>
                  </a:moveTo>
                  <a:cubicBezTo>
                    <a:pt x="20" y="22"/>
                    <a:pt x="20" y="22"/>
                    <a:pt x="20" y="22"/>
                  </a:cubicBezTo>
                  <a:cubicBezTo>
                    <a:pt x="20" y="27"/>
                    <a:pt x="20" y="27"/>
                    <a:pt x="20" y="27"/>
                  </a:cubicBezTo>
                  <a:cubicBezTo>
                    <a:pt x="16" y="27"/>
                    <a:pt x="16" y="27"/>
                    <a:pt x="16" y="27"/>
                  </a:cubicBezTo>
                  <a:cubicBezTo>
                    <a:pt x="16" y="32"/>
                    <a:pt x="12" y="36"/>
                    <a:pt x="8" y="36"/>
                  </a:cubicBezTo>
                  <a:cubicBezTo>
                    <a:pt x="8" y="62"/>
                    <a:pt x="8" y="62"/>
                    <a:pt x="8" y="62"/>
                  </a:cubicBezTo>
                  <a:cubicBezTo>
                    <a:pt x="12" y="62"/>
                    <a:pt x="16" y="66"/>
                    <a:pt x="16" y="71"/>
                  </a:cubicBezTo>
                  <a:cubicBezTo>
                    <a:pt x="64" y="71"/>
                    <a:pt x="64" y="71"/>
                    <a:pt x="64" y="71"/>
                  </a:cubicBezTo>
                  <a:cubicBezTo>
                    <a:pt x="59" y="76"/>
                    <a:pt x="59" y="76"/>
                    <a:pt x="59" y="76"/>
                  </a:cubicBezTo>
                  <a:cubicBezTo>
                    <a:pt x="3" y="76"/>
                    <a:pt x="3" y="76"/>
                    <a:pt x="3" y="76"/>
                  </a:cubicBezTo>
                  <a:lnTo>
                    <a:pt x="3" y="22"/>
                  </a:lnTo>
                  <a:close/>
                  <a:moveTo>
                    <a:pt x="37" y="3"/>
                  </a:moveTo>
                  <a:cubicBezTo>
                    <a:pt x="54" y="3"/>
                    <a:pt x="54" y="3"/>
                    <a:pt x="54" y="3"/>
                  </a:cubicBezTo>
                  <a:cubicBezTo>
                    <a:pt x="52" y="4"/>
                    <a:pt x="50" y="6"/>
                    <a:pt x="49" y="9"/>
                  </a:cubicBezTo>
                  <a:cubicBezTo>
                    <a:pt x="48" y="11"/>
                    <a:pt x="47" y="14"/>
                    <a:pt x="47" y="16"/>
                  </a:cubicBezTo>
                  <a:cubicBezTo>
                    <a:pt x="47" y="43"/>
                    <a:pt x="47" y="43"/>
                    <a:pt x="47" y="43"/>
                  </a:cubicBezTo>
                  <a:cubicBezTo>
                    <a:pt x="55" y="43"/>
                    <a:pt x="55" y="43"/>
                    <a:pt x="55" y="43"/>
                  </a:cubicBezTo>
                  <a:cubicBezTo>
                    <a:pt x="35" y="63"/>
                    <a:pt x="35" y="63"/>
                    <a:pt x="35" y="63"/>
                  </a:cubicBezTo>
                  <a:cubicBezTo>
                    <a:pt x="14" y="43"/>
                    <a:pt x="14" y="43"/>
                    <a:pt x="14" y="43"/>
                  </a:cubicBezTo>
                  <a:cubicBezTo>
                    <a:pt x="23" y="43"/>
                    <a:pt x="23" y="43"/>
                    <a:pt x="23" y="43"/>
                  </a:cubicBezTo>
                  <a:cubicBezTo>
                    <a:pt x="23" y="16"/>
                    <a:pt x="23" y="16"/>
                    <a:pt x="23" y="16"/>
                  </a:cubicBezTo>
                  <a:cubicBezTo>
                    <a:pt x="23" y="9"/>
                    <a:pt x="29" y="3"/>
                    <a:pt x="37" y="3"/>
                  </a:cubicBezTo>
                  <a:close/>
                  <a:moveTo>
                    <a:pt x="95" y="63"/>
                  </a:moveTo>
                  <a:cubicBezTo>
                    <a:pt x="84" y="52"/>
                    <a:pt x="84" y="52"/>
                    <a:pt x="84" y="52"/>
                  </a:cubicBezTo>
                  <a:cubicBezTo>
                    <a:pt x="70" y="66"/>
                    <a:pt x="70" y="66"/>
                    <a:pt x="70" y="66"/>
                  </a:cubicBezTo>
                  <a:cubicBezTo>
                    <a:pt x="35" y="66"/>
                    <a:pt x="35" y="66"/>
                    <a:pt x="35" y="66"/>
                  </a:cubicBezTo>
                  <a:cubicBezTo>
                    <a:pt x="48" y="54"/>
                    <a:pt x="48" y="54"/>
                    <a:pt x="48" y="54"/>
                  </a:cubicBezTo>
                  <a:cubicBezTo>
                    <a:pt x="49" y="60"/>
                    <a:pt x="54" y="64"/>
                    <a:pt x="59" y="64"/>
                  </a:cubicBezTo>
                  <a:cubicBezTo>
                    <a:pt x="66" y="64"/>
                    <a:pt x="72" y="57"/>
                    <a:pt x="72" y="49"/>
                  </a:cubicBezTo>
                  <a:cubicBezTo>
                    <a:pt x="72" y="40"/>
                    <a:pt x="66" y="34"/>
                    <a:pt x="59" y="34"/>
                  </a:cubicBezTo>
                  <a:cubicBezTo>
                    <a:pt x="55" y="34"/>
                    <a:pt x="52" y="36"/>
                    <a:pt x="50" y="39"/>
                  </a:cubicBezTo>
                  <a:cubicBezTo>
                    <a:pt x="50" y="32"/>
                    <a:pt x="50" y="32"/>
                    <a:pt x="50" y="32"/>
                  </a:cubicBezTo>
                  <a:cubicBezTo>
                    <a:pt x="86" y="32"/>
                    <a:pt x="86" y="32"/>
                    <a:pt x="86" y="32"/>
                  </a:cubicBezTo>
                  <a:cubicBezTo>
                    <a:pt x="96" y="32"/>
                    <a:pt x="104" y="40"/>
                    <a:pt x="104" y="49"/>
                  </a:cubicBezTo>
                  <a:cubicBezTo>
                    <a:pt x="104" y="55"/>
                    <a:pt x="100" y="60"/>
                    <a:pt x="95" y="63"/>
                  </a:cubicBezTo>
                  <a:close/>
                  <a:moveTo>
                    <a:pt x="50" y="52"/>
                  </a:moveTo>
                  <a:cubicBezTo>
                    <a:pt x="62" y="40"/>
                    <a:pt x="62" y="40"/>
                    <a:pt x="62" y="40"/>
                  </a:cubicBezTo>
                  <a:cubicBezTo>
                    <a:pt x="52" y="40"/>
                    <a:pt x="52" y="40"/>
                    <a:pt x="52" y="40"/>
                  </a:cubicBezTo>
                  <a:cubicBezTo>
                    <a:pt x="54" y="38"/>
                    <a:pt x="57" y="36"/>
                    <a:pt x="59" y="36"/>
                  </a:cubicBezTo>
                  <a:cubicBezTo>
                    <a:pt x="65" y="36"/>
                    <a:pt x="69" y="42"/>
                    <a:pt x="69" y="49"/>
                  </a:cubicBezTo>
                  <a:cubicBezTo>
                    <a:pt x="69" y="56"/>
                    <a:pt x="65" y="62"/>
                    <a:pt x="59" y="62"/>
                  </a:cubicBezTo>
                  <a:cubicBezTo>
                    <a:pt x="55" y="62"/>
                    <a:pt x="51" y="57"/>
                    <a:pt x="50" y="52"/>
                  </a:cubicBezTo>
                  <a:close/>
                  <a:moveTo>
                    <a:pt x="20" y="40"/>
                  </a:moveTo>
                  <a:cubicBezTo>
                    <a:pt x="17" y="40"/>
                    <a:pt x="17" y="40"/>
                    <a:pt x="17" y="40"/>
                  </a:cubicBezTo>
                  <a:cubicBezTo>
                    <a:pt x="18" y="39"/>
                    <a:pt x="19" y="38"/>
                    <a:pt x="20" y="37"/>
                  </a:cubicBezTo>
                  <a:lnTo>
                    <a:pt x="20" y="40"/>
                  </a:lnTo>
                  <a:close/>
                  <a:moveTo>
                    <a:pt x="15" y="47"/>
                  </a:moveTo>
                  <a:cubicBezTo>
                    <a:pt x="34" y="66"/>
                    <a:pt x="34" y="66"/>
                    <a:pt x="34" y="66"/>
                  </a:cubicBezTo>
                  <a:cubicBezTo>
                    <a:pt x="32" y="66"/>
                    <a:pt x="32" y="66"/>
                    <a:pt x="32" y="66"/>
                  </a:cubicBezTo>
                  <a:cubicBezTo>
                    <a:pt x="23" y="66"/>
                    <a:pt x="15" y="58"/>
                    <a:pt x="15" y="49"/>
                  </a:cubicBezTo>
                  <a:cubicBezTo>
                    <a:pt x="15" y="48"/>
                    <a:pt x="15" y="48"/>
                    <a:pt x="15" y="47"/>
                  </a:cubicBezTo>
                  <a:close/>
                  <a:moveTo>
                    <a:pt x="3" y="78"/>
                  </a:moveTo>
                  <a:cubicBezTo>
                    <a:pt x="69" y="78"/>
                    <a:pt x="69" y="78"/>
                    <a:pt x="69" y="78"/>
                  </a:cubicBezTo>
                  <a:cubicBezTo>
                    <a:pt x="69" y="82"/>
                    <a:pt x="69" y="82"/>
                    <a:pt x="69" y="82"/>
                  </a:cubicBezTo>
                  <a:cubicBezTo>
                    <a:pt x="3" y="82"/>
                    <a:pt x="3" y="82"/>
                    <a:pt x="3" y="82"/>
                  </a:cubicBezTo>
                  <a:lnTo>
                    <a:pt x="3" y="78"/>
                  </a:lnTo>
                  <a:close/>
                  <a:moveTo>
                    <a:pt x="3" y="85"/>
                  </a:moveTo>
                  <a:cubicBezTo>
                    <a:pt x="69" y="85"/>
                    <a:pt x="69" y="85"/>
                    <a:pt x="69" y="85"/>
                  </a:cubicBezTo>
                  <a:cubicBezTo>
                    <a:pt x="69" y="88"/>
                    <a:pt x="69" y="88"/>
                    <a:pt x="69" y="88"/>
                  </a:cubicBezTo>
                  <a:cubicBezTo>
                    <a:pt x="3" y="88"/>
                    <a:pt x="3" y="88"/>
                    <a:pt x="3" y="88"/>
                  </a:cubicBezTo>
                  <a:lnTo>
                    <a:pt x="3" y="85"/>
                  </a:lnTo>
                  <a:close/>
                  <a:moveTo>
                    <a:pt x="3" y="91"/>
                  </a:moveTo>
                  <a:cubicBezTo>
                    <a:pt x="69" y="91"/>
                    <a:pt x="69" y="91"/>
                    <a:pt x="69" y="91"/>
                  </a:cubicBezTo>
                  <a:cubicBezTo>
                    <a:pt x="69" y="95"/>
                    <a:pt x="69" y="95"/>
                    <a:pt x="69" y="95"/>
                  </a:cubicBezTo>
                  <a:cubicBezTo>
                    <a:pt x="3" y="95"/>
                    <a:pt x="3" y="95"/>
                    <a:pt x="3" y="95"/>
                  </a:cubicBezTo>
                  <a:lnTo>
                    <a:pt x="3" y="91"/>
                  </a:lnTo>
                  <a:close/>
                  <a:moveTo>
                    <a:pt x="116" y="88"/>
                  </a:moveTo>
                  <a:cubicBezTo>
                    <a:pt x="98" y="88"/>
                    <a:pt x="98" y="88"/>
                    <a:pt x="98" y="88"/>
                  </a:cubicBezTo>
                  <a:cubicBezTo>
                    <a:pt x="98" y="85"/>
                    <a:pt x="98" y="85"/>
                    <a:pt x="98" y="85"/>
                  </a:cubicBezTo>
                  <a:cubicBezTo>
                    <a:pt x="116" y="85"/>
                    <a:pt x="116" y="85"/>
                    <a:pt x="116" y="85"/>
                  </a:cubicBezTo>
                  <a:lnTo>
                    <a:pt x="116" y="88"/>
                  </a:lnTo>
                  <a:close/>
                  <a:moveTo>
                    <a:pt x="116" y="82"/>
                  </a:moveTo>
                  <a:cubicBezTo>
                    <a:pt x="98" y="82"/>
                    <a:pt x="98" y="82"/>
                    <a:pt x="98" y="82"/>
                  </a:cubicBezTo>
                  <a:cubicBezTo>
                    <a:pt x="98" y="78"/>
                    <a:pt x="98" y="78"/>
                    <a:pt x="98" y="78"/>
                  </a:cubicBezTo>
                  <a:cubicBezTo>
                    <a:pt x="116" y="78"/>
                    <a:pt x="116" y="78"/>
                    <a:pt x="116" y="78"/>
                  </a:cubicBezTo>
                  <a:lnTo>
                    <a:pt x="116" y="82"/>
                  </a:lnTo>
                  <a:close/>
                  <a:moveTo>
                    <a:pt x="116" y="76"/>
                  </a:moveTo>
                  <a:cubicBezTo>
                    <a:pt x="108" y="76"/>
                    <a:pt x="108" y="76"/>
                    <a:pt x="108" y="76"/>
                  </a:cubicBezTo>
                  <a:cubicBezTo>
                    <a:pt x="102" y="70"/>
                    <a:pt x="102" y="70"/>
                    <a:pt x="102" y="70"/>
                  </a:cubicBezTo>
                  <a:cubicBezTo>
                    <a:pt x="103" y="66"/>
                    <a:pt x="106" y="62"/>
                    <a:pt x="111" y="62"/>
                  </a:cubicBezTo>
                  <a:cubicBezTo>
                    <a:pt x="111" y="36"/>
                    <a:pt x="111" y="36"/>
                    <a:pt x="111" y="36"/>
                  </a:cubicBezTo>
                  <a:cubicBezTo>
                    <a:pt x="106" y="36"/>
                    <a:pt x="102" y="32"/>
                    <a:pt x="102" y="27"/>
                  </a:cubicBezTo>
                  <a:cubicBezTo>
                    <a:pt x="50" y="27"/>
                    <a:pt x="50" y="27"/>
                    <a:pt x="50" y="27"/>
                  </a:cubicBezTo>
                  <a:cubicBezTo>
                    <a:pt x="50" y="22"/>
                    <a:pt x="50" y="22"/>
                    <a:pt x="50" y="22"/>
                  </a:cubicBezTo>
                  <a:cubicBezTo>
                    <a:pt x="116" y="22"/>
                    <a:pt x="116" y="22"/>
                    <a:pt x="116" y="22"/>
                  </a:cubicBezTo>
                  <a:lnTo>
                    <a:pt x="116" y="7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55" name="淘宝网chenying0907出品 1"/>
          <p:cNvSpPr>
            <a:spLocks noChangeArrowheads="1"/>
          </p:cNvSpPr>
          <p:nvPr/>
        </p:nvSpPr>
        <p:spPr bwMode="auto">
          <a:xfrm>
            <a:off x="6246846" y="17093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328">
        <p15:prstTrans prst="pageCurlDouble"/>
      </p:transition>
    </mc:Choice>
    <mc:Fallback xmlns="">
      <p:transition spd="slow" advClick="0" advTm="43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childTnLst>
                          </p:cTn>
                        </p:par>
                        <p:par>
                          <p:cTn id="10" fill="hold">
                            <p:stCondLst>
                              <p:cond delay="500"/>
                            </p:stCondLst>
                            <p:childTnLst>
                              <p:par>
                                <p:cTn id="11" presetID="2" presetClass="entr" presetSubtype="8" fill="hold" nodeType="afterEffect">
                                  <p:stCondLst>
                                    <p:cond delay="0"/>
                                  </p:stCondLst>
                                  <p:iterate type="lt">
                                    <p:tmPct val="20000"/>
                                  </p:iterate>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1250" fill="hold"/>
                                        <p:tgtEl>
                                          <p:spTgt spid="52"/>
                                        </p:tgtEl>
                                        <p:attrNameLst>
                                          <p:attrName>ppt_x</p:attrName>
                                        </p:attrNameLst>
                                      </p:cBhvr>
                                      <p:tavLst>
                                        <p:tav tm="0">
                                          <p:val>
                                            <p:strVal val="0-#ppt_w/2"/>
                                          </p:val>
                                        </p:tav>
                                        <p:tav tm="100000">
                                          <p:val>
                                            <p:strVal val="#ppt_x"/>
                                          </p:val>
                                        </p:tav>
                                      </p:tavLst>
                                    </p:anim>
                                    <p:anim calcmode="lin" valueType="num">
                                      <p:cBhvr additive="base">
                                        <p:cTn id="14" dur="1250" fill="hold"/>
                                        <p:tgtEl>
                                          <p:spTgt spid="52"/>
                                        </p:tgtEl>
                                        <p:attrNameLst>
                                          <p:attrName>ppt_y</p:attrName>
                                        </p:attrNameLst>
                                      </p:cBhvr>
                                      <p:tavLst>
                                        <p:tav tm="0">
                                          <p:val>
                                            <p:strVal val="#ppt_y"/>
                                          </p:val>
                                        </p:tav>
                                        <p:tav tm="100000">
                                          <p:val>
                                            <p:strVal val="#ppt_y"/>
                                          </p:val>
                                        </p:tav>
                                      </p:tavLst>
                                    </p:anim>
                                  </p:childTnLst>
                                </p:cTn>
                              </p:par>
                              <p:par>
                                <p:cTn id="15" presetID="10" presetClass="entr" presetSubtype="0" fill="hold" nodeType="withEffect">
                                  <p:stCondLst>
                                    <p:cond delay="0"/>
                                  </p:stCondLst>
                                  <p:iterate type="lt">
                                    <p:tmPct val="20000"/>
                                  </p:iterate>
                                  <p:childTnLst>
                                    <p:set>
                                      <p:cBhvr>
                                        <p:cTn id="16" dur="1" fill="hold">
                                          <p:stCondLst>
                                            <p:cond delay="0"/>
                                          </p:stCondLst>
                                        </p:cTn>
                                        <p:tgtEl>
                                          <p:spTgt spid="52"/>
                                        </p:tgtEl>
                                        <p:attrNameLst>
                                          <p:attrName>style.visibility</p:attrName>
                                        </p:attrNameLst>
                                      </p:cBhvr>
                                      <p:to>
                                        <p:strVal val="visible"/>
                                      </p:to>
                                    </p:set>
                                    <p:animEffect transition="in" filter="fade">
                                      <p:cBhvr>
                                        <p:cTn id="17" dur="1250"/>
                                        <p:tgtEl>
                                          <p:spTgt spid="52"/>
                                        </p:tgtEl>
                                      </p:cBhvr>
                                    </p:animEffect>
                                  </p:childTnLst>
                                </p:cTn>
                              </p:par>
                              <p:par>
                                <p:cTn id="18" presetID="19" presetClass="entr" presetSubtype="10" fill="hold" nodeType="withEffect">
                                  <p:stCondLst>
                                    <p:cond delay="0"/>
                                  </p:stCondLst>
                                  <p:iterate type="lt">
                                    <p:tmPct val="20000"/>
                                  </p:iterate>
                                  <p:childTnLst>
                                    <p:set>
                                      <p:cBhvr>
                                        <p:cTn id="19" dur="1" fill="hold">
                                          <p:stCondLst>
                                            <p:cond delay="0"/>
                                          </p:stCondLst>
                                        </p:cTn>
                                        <p:tgtEl>
                                          <p:spTgt spid="52"/>
                                        </p:tgtEl>
                                        <p:attrNameLst>
                                          <p:attrName>style.visibility</p:attrName>
                                        </p:attrNameLst>
                                      </p:cBhvr>
                                      <p:to>
                                        <p:strVal val="visible"/>
                                      </p:to>
                                    </p:set>
                                    <p:anim calcmode="lin" valueType="num">
                                      <p:cBhvr>
                                        <p:cTn id="20" dur="1250" fill="hold"/>
                                        <p:tgtEl>
                                          <p:spTgt spid="52"/>
                                        </p:tgtEl>
                                        <p:attrNameLst>
                                          <p:attrName>ppt_w</p:attrName>
                                        </p:attrNameLst>
                                      </p:cBhvr>
                                      <p:tavLst>
                                        <p:tav tm="0" fmla="#ppt_w*sin(2.5*pi*$)">
                                          <p:val>
                                            <p:fltVal val="0"/>
                                          </p:val>
                                        </p:tav>
                                        <p:tav tm="100000">
                                          <p:val>
                                            <p:fltVal val="1"/>
                                          </p:val>
                                        </p:tav>
                                      </p:tavLst>
                                    </p:anim>
                                    <p:anim calcmode="lin" valueType="num">
                                      <p:cBhvr>
                                        <p:cTn id="21" dur="1250" fill="hold"/>
                                        <p:tgtEl>
                                          <p:spTgt spid="52"/>
                                        </p:tgtEl>
                                        <p:attrNameLst>
                                          <p:attrName>ppt_h</p:attrName>
                                        </p:attrNameLst>
                                      </p:cBhvr>
                                      <p:tavLst>
                                        <p:tav tm="0">
                                          <p:val>
                                            <p:strVal val="#ppt_h"/>
                                          </p:val>
                                        </p:tav>
                                        <p:tav tm="100000">
                                          <p:val>
                                            <p:strVal val="#ppt_h"/>
                                          </p:val>
                                        </p:tav>
                                      </p:tavLst>
                                    </p:anim>
                                  </p:childTnLst>
                                </p:cTn>
                              </p:par>
                              <p:par>
                                <p:cTn id="22" presetID="2" presetClass="entr" presetSubtype="8" fill="hold" nodeType="withEffect">
                                  <p:stCondLst>
                                    <p:cond delay="0"/>
                                  </p:stCondLst>
                                  <p:iterate type="lt">
                                    <p:tmPct val="20000"/>
                                  </p:iterate>
                                  <p:childTnLst>
                                    <p:set>
                                      <p:cBhvr>
                                        <p:cTn id="23" dur="1" fill="hold">
                                          <p:stCondLst>
                                            <p:cond delay="0"/>
                                          </p:stCondLst>
                                        </p:cTn>
                                        <p:tgtEl>
                                          <p:spTgt spid="48"/>
                                        </p:tgtEl>
                                        <p:attrNameLst>
                                          <p:attrName>style.visibility</p:attrName>
                                        </p:attrNameLst>
                                      </p:cBhvr>
                                      <p:to>
                                        <p:strVal val="visible"/>
                                      </p:to>
                                    </p:set>
                                    <p:anim calcmode="lin" valueType="num">
                                      <p:cBhvr additive="base">
                                        <p:cTn id="24" dur="1250" fill="hold"/>
                                        <p:tgtEl>
                                          <p:spTgt spid="48"/>
                                        </p:tgtEl>
                                        <p:attrNameLst>
                                          <p:attrName>ppt_x</p:attrName>
                                        </p:attrNameLst>
                                      </p:cBhvr>
                                      <p:tavLst>
                                        <p:tav tm="0">
                                          <p:val>
                                            <p:strVal val="0-#ppt_w/2"/>
                                          </p:val>
                                        </p:tav>
                                        <p:tav tm="100000">
                                          <p:val>
                                            <p:strVal val="#ppt_x"/>
                                          </p:val>
                                        </p:tav>
                                      </p:tavLst>
                                    </p:anim>
                                    <p:anim calcmode="lin" valueType="num">
                                      <p:cBhvr additive="base">
                                        <p:cTn id="25" dur="1250" fill="hold"/>
                                        <p:tgtEl>
                                          <p:spTgt spid="48"/>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0"/>
                                  </p:stCondLst>
                                  <p:iterate type="lt">
                                    <p:tmPct val="20000"/>
                                  </p:iterate>
                                  <p:childTnLst>
                                    <p:set>
                                      <p:cBhvr>
                                        <p:cTn id="27" dur="1" fill="hold">
                                          <p:stCondLst>
                                            <p:cond delay="0"/>
                                          </p:stCondLst>
                                        </p:cTn>
                                        <p:tgtEl>
                                          <p:spTgt spid="48"/>
                                        </p:tgtEl>
                                        <p:attrNameLst>
                                          <p:attrName>style.visibility</p:attrName>
                                        </p:attrNameLst>
                                      </p:cBhvr>
                                      <p:to>
                                        <p:strVal val="visible"/>
                                      </p:to>
                                    </p:set>
                                    <p:animEffect transition="in" filter="fade">
                                      <p:cBhvr>
                                        <p:cTn id="28" dur="1250"/>
                                        <p:tgtEl>
                                          <p:spTgt spid="48"/>
                                        </p:tgtEl>
                                      </p:cBhvr>
                                    </p:animEffect>
                                  </p:childTnLst>
                                </p:cTn>
                              </p:par>
                              <p:par>
                                <p:cTn id="29" presetID="19" presetClass="entr" presetSubtype="10" fill="hold" nodeType="withEffect">
                                  <p:stCondLst>
                                    <p:cond delay="0"/>
                                  </p:stCondLst>
                                  <p:iterate type="lt">
                                    <p:tmPct val="20000"/>
                                  </p:iterate>
                                  <p:childTnLst>
                                    <p:set>
                                      <p:cBhvr>
                                        <p:cTn id="30" dur="1" fill="hold">
                                          <p:stCondLst>
                                            <p:cond delay="0"/>
                                          </p:stCondLst>
                                        </p:cTn>
                                        <p:tgtEl>
                                          <p:spTgt spid="48"/>
                                        </p:tgtEl>
                                        <p:attrNameLst>
                                          <p:attrName>style.visibility</p:attrName>
                                        </p:attrNameLst>
                                      </p:cBhvr>
                                      <p:to>
                                        <p:strVal val="visible"/>
                                      </p:to>
                                    </p:set>
                                    <p:anim calcmode="lin" valueType="num">
                                      <p:cBhvr>
                                        <p:cTn id="31" dur="1250" fill="hold"/>
                                        <p:tgtEl>
                                          <p:spTgt spid="48"/>
                                        </p:tgtEl>
                                        <p:attrNameLst>
                                          <p:attrName>ppt_w</p:attrName>
                                        </p:attrNameLst>
                                      </p:cBhvr>
                                      <p:tavLst>
                                        <p:tav tm="0" fmla="#ppt_w*sin(2.5*pi*$)">
                                          <p:val>
                                            <p:fltVal val="0"/>
                                          </p:val>
                                        </p:tav>
                                        <p:tav tm="100000">
                                          <p:val>
                                            <p:fltVal val="1"/>
                                          </p:val>
                                        </p:tav>
                                      </p:tavLst>
                                    </p:anim>
                                    <p:anim calcmode="lin" valueType="num">
                                      <p:cBhvr>
                                        <p:cTn id="32" dur="1250" fill="hold"/>
                                        <p:tgtEl>
                                          <p:spTgt spid="48"/>
                                        </p:tgtEl>
                                        <p:attrNameLst>
                                          <p:attrName>ppt_h</p:attrName>
                                        </p:attrNameLst>
                                      </p:cBhvr>
                                      <p:tavLst>
                                        <p:tav tm="0">
                                          <p:val>
                                            <p:strVal val="#ppt_h"/>
                                          </p:val>
                                        </p:tav>
                                        <p:tav tm="100000">
                                          <p:val>
                                            <p:strVal val="#ppt_h"/>
                                          </p:val>
                                        </p:tav>
                                      </p:tavLst>
                                    </p:anim>
                                  </p:childTnLst>
                                </p:cTn>
                              </p:par>
                              <p:par>
                                <p:cTn id="33" presetID="2" presetClass="entr" presetSubtype="2" fill="hold" nodeType="withEffect">
                                  <p:stCondLst>
                                    <p:cond delay="0"/>
                                  </p:stCondLst>
                                  <p:iterate type="lt">
                                    <p:tmPct val="20000"/>
                                  </p:iterate>
                                  <p:childTnLst>
                                    <p:set>
                                      <p:cBhvr>
                                        <p:cTn id="34" dur="1" fill="hold">
                                          <p:stCondLst>
                                            <p:cond delay="0"/>
                                          </p:stCondLst>
                                        </p:cTn>
                                        <p:tgtEl>
                                          <p:spTgt spid="37"/>
                                        </p:tgtEl>
                                        <p:attrNameLst>
                                          <p:attrName>style.visibility</p:attrName>
                                        </p:attrNameLst>
                                      </p:cBhvr>
                                      <p:to>
                                        <p:strVal val="visible"/>
                                      </p:to>
                                    </p:set>
                                    <p:anim calcmode="lin" valueType="num">
                                      <p:cBhvr additive="base">
                                        <p:cTn id="35" dur="1250" fill="hold"/>
                                        <p:tgtEl>
                                          <p:spTgt spid="37"/>
                                        </p:tgtEl>
                                        <p:attrNameLst>
                                          <p:attrName>ppt_x</p:attrName>
                                        </p:attrNameLst>
                                      </p:cBhvr>
                                      <p:tavLst>
                                        <p:tav tm="0">
                                          <p:val>
                                            <p:strVal val="1+#ppt_w/2"/>
                                          </p:val>
                                        </p:tav>
                                        <p:tav tm="100000">
                                          <p:val>
                                            <p:strVal val="#ppt_x"/>
                                          </p:val>
                                        </p:tav>
                                      </p:tavLst>
                                    </p:anim>
                                    <p:anim calcmode="lin" valueType="num">
                                      <p:cBhvr additive="base">
                                        <p:cTn id="36" dur="1250" fill="hold"/>
                                        <p:tgtEl>
                                          <p:spTgt spid="37"/>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0"/>
                                  </p:stCondLst>
                                  <p:iterate type="lt">
                                    <p:tmPct val="20000"/>
                                  </p:iterate>
                                  <p:childTnLst>
                                    <p:set>
                                      <p:cBhvr>
                                        <p:cTn id="38" dur="1" fill="hold">
                                          <p:stCondLst>
                                            <p:cond delay="0"/>
                                          </p:stCondLst>
                                        </p:cTn>
                                        <p:tgtEl>
                                          <p:spTgt spid="37"/>
                                        </p:tgtEl>
                                        <p:attrNameLst>
                                          <p:attrName>style.visibility</p:attrName>
                                        </p:attrNameLst>
                                      </p:cBhvr>
                                      <p:to>
                                        <p:strVal val="visible"/>
                                      </p:to>
                                    </p:set>
                                    <p:animEffect transition="in" filter="fade">
                                      <p:cBhvr>
                                        <p:cTn id="39" dur="1250"/>
                                        <p:tgtEl>
                                          <p:spTgt spid="37"/>
                                        </p:tgtEl>
                                      </p:cBhvr>
                                    </p:animEffect>
                                  </p:childTnLst>
                                </p:cTn>
                              </p:par>
                              <p:par>
                                <p:cTn id="40" presetID="19" presetClass="entr" presetSubtype="10" fill="hold" nodeType="withEffect">
                                  <p:stCondLst>
                                    <p:cond delay="0"/>
                                  </p:stCondLst>
                                  <p:iterate type="lt">
                                    <p:tmPct val="20000"/>
                                  </p:iterate>
                                  <p:childTnLst>
                                    <p:set>
                                      <p:cBhvr>
                                        <p:cTn id="41" dur="1" fill="hold">
                                          <p:stCondLst>
                                            <p:cond delay="0"/>
                                          </p:stCondLst>
                                        </p:cTn>
                                        <p:tgtEl>
                                          <p:spTgt spid="37"/>
                                        </p:tgtEl>
                                        <p:attrNameLst>
                                          <p:attrName>style.visibility</p:attrName>
                                        </p:attrNameLst>
                                      </p:cBhvr>
                                      <p:to>
                                        <p:strVal val="visible"/>
                                      </p:to>
                                    </p:set>
                                    <p:anim calcmode="lin" valueType="num">
                                      <p:cBhvr>
                                        <p:cTn id="42" dur="1250" fill="hold"/>
                                        <p:tgtEl>
                                          <p:spTgt spid="37"/>
                                        </p:tgtEl>
                                        <p:attrNameLst>
                                          <p:attrName>ppt_w</p:attrName>
                                        </p:attrNameLst>
                                      </p:cBhvr>
                                      <p:tavLst>
                                        <p:tav tm="0" fmla="#ppt_w*sin(2.5*pi*$)">
                                          <p:val>
                                            <p:fltVal val="0"/>
                                          </p:val>
                                        </p:tav>
                                        <p:tav tm="100000">
                                          <p:val>
                                            <p:fltVal val="1"/>
                                          </p:val>
                                        </p:tav>
                                      </p:tavLst>
                                    </p:anim>
                                    <p:anim calcmode="lin" valueType="num">
                                      <p:cBhvr>
                                        <p:cTn id="43" dur="1250" fill="hold"/>
                                        <p:tgtEl>
                                          <p:spTgt spid="37"/>
                                        </p:tgtEl>
                                        <p:attrNameLst>
                                          <p:attrName>ppt_h</p:attrName>
                                        </p:attrNameLst>
                                      </p:cBhvr>
                                      <p:tavLst>
                                        <p:tav tm="0">
                                          <p:val>
                                            <p:strVal val="#ppt_h"/>
                                          </p:val>
                                        </p:tav>
                                        <p:tav tm="100000">
                                          <p:val>
                                            <p:strVal val="#ppt_h"/>
                                          </p:val>
                                        </p:tav>
                                      </p:tavLst>
                                    </p:anim>
                                  </p:childTnLst>
                                </p:cTn>
                              </p:par>
                              <p:par>
                                <p:cTn id="44" presetID="2" presetClass="entr" presetSubtype="2" fill="hold" nodeType="withEffect">
                                  <p:stCondLst>
                                    <p:cond delay="0"/>
                                  </p:stCondLst>
                                  <p:iterate type="lt">
                                    <p:tmPct val="20000"/>
                                  </p:iterate>
                                  <p:childTnLst>
                                    <p:set>
                                      <p:cBhvr>
                                        <p:cTn id="45" dur="1" fill="hold">
                                          <p:stCondLst>
                                            <p:cond delay="0"/>
                                          </p:stCondLst>
                                        </p:cTn>
                                        <p:tgtEl>
                                          <p:spTgt spid="40"/>
                                        </p:tgtEl>
                                        <p:attrNameLst>
                                          <p:attrName>style.visibility</p:attrName>
                                        </p:attrNameLst>
                                      </p:cBhvr>
                                      <p:to>
                                        <p:strVal val="visible"/>
                                      </p:to>
                                    </p:set>
                                    <p:anim calcmode="lin" valueType="num">
                                      <p:cBhvr additive="base">
                                        <p:cTn id="46" dur="1250" fill="hold"/>
                                        <p:tgtEl>
                                          <p:spTgt spid="40"/>
                                        </p:tgtEl>
                                        <p:attrNameLst>
                                          <p:attrName>ppt_x</p:attrName>
                                        </p:attrNameLst>
                                      </p:cBhvr>
                                      <p:tavLst>
                                        <p:tav tm="0">
                                          <p:val>
                                            <p:strVal val="1+#ppt_w/2"/>
                                          </p:val>
                                        </p:tav>
                                        <p:tav tm="100000">
                                          <p:val>
                                            <p:strVal val="#ppt_x"/>
                                          </p:val>
                                        </p:tav>
                                      </p:tavLst>
                                    </p:anim>
                                    <p:anim calcmode="lin" valueType="num">
                                      <p:cBhvr additive="base">
                                        <p:cTn id="47" dur="1250" fill="hold"/>
                                        <p:tgtEl>
                                          <p:spTgt spid="40"/>
                                        </p:tgtEl>
                                        <p:attrNameLst>
                                          <p:attrName>ppt_y</p:attrName>
                                        </p:attrNameLst>
                                      </p:cBhvr>
                                      <p:tavLst>
                                        <p:tav tm="0">
                                          <p:val>
                                            <p:strVal val="#ppt_y"/>
                                          </p:val>
                                        </p:tav>
                                        <p:tav tm="100000">
                                          <p:val>
                                            <p:strVal val="#ppt_y"/>
                                          </p:val>
                                        </p:tav>
                                      </p:tavLst>
                                    </p:anim>
                                  </p:childTnLst>
                                </p:cTn>
                              </p:par>
                              <p:par>
                                <p:cTn id="48" presetID="10" presetClass="entr" presetSubtype="0" fill="hold" nodeType="withEffect">
                                  <p:stCondLst>
                                    <p:cond delay="0"/>
                                  </p:stCondLst>
                                  <p:iterate type="lt">
                                    <p:tmPct val="20000"/>
                                  </p:iterate>
                                  <p:childTnLst>
                                    <p:set>
                                      <p:cBhvr>
                                        <p:cTn id="49" dur="1" fill="hold">
                                          <p:stCondLst>
                                            <p:cond delay="0"/>
                                          </p:stCondLst>
                                        </p:cTn>
                                        <p:tgtEl>
                                          <p:spTgt spid="40"/>
                                        </p:tgtEl>
                                        <p:attrNameLst>
                                          <p:attrName>style.visibility</p:attrName>
                                        </p:attrNameLst>
                                      </p:cBhvr>
                                      <p:to>
                                        <p:strVal val="visible"/>
                                      </p:to>
                                    </p:set>
                                    <p:animEffect transition="in" filter="fade">
                                      <p:cBhvr>
                                        <p:cTn id="50" dur="1250"/>
                                        <p:tgtEl>
                                          <p:spTgt spid="40"/>
                                        </p:tgtEl>
                                      </p:cBhvr>
                                    </p:animEffect>
                                  </p:childTnLst>
                                </p:cTn>
                              </p:par>
                              <p:par>
                                <p:cTn id="51" presetID="19" presetClass="entr" presetSubtype="10" fill="hold" nodeType="withEffect">
                                  <p:stCondLst>
                                    <p:cond delay="0"/>
                                  </p:stCondLst>
                                  <p:iterate type="lt">
                                    <p:tmPct val="20000"/>
                                  </p:iterate>
                                  <p:childTnLst>
                                    <p:set>
                                      <p:cBhvr>
                                        <p:cTn id="52" dur="1" fill="hold">
                                          <p:stCondLst>
                                            <p:cond delay="0"/>
                                          </p:stCondLst>
                                        </p:cTn>
                                        <p:tgtEl>
                                          <p:spTgt spid="40"/>
                                        </p:tgtEl>
                                        <p:attrNameLst>
                                          <p:attrName>style.visibility</p:attrName>
                                        </p:attrNameLst>
                                      </p:cBhvr>
                                      <p:to>
                                        <p:strVal val="visible"/>
                                      </p:to>
                                    </p:set>
                                    <p:anim calcmode="lin" valueType="num">
                                      <p:cBhvr>
                                        <p:cTn id="53" dur="1250" fill="hold"/>
                                        <p:tgtEl>
                                          <p:spTgt spid="40"/>
                                        </p:tgtEl>
                                        <p:attrNameLst>
                                          <p:attrName>ppt_w</p:attrName>
                                        </p:attrNameLst>
                                      </p:cBhvr>
                                      <p:tavLst>
                                        <p:tav tm="0" fmla="#ppt_w*sin(2.5*pi*$)">
                                          <p:val>
                                            <p:fltVal val="0"/>
                                          </p:val>
                                        </p:tav>
                                        <p:tav tm="100000">
                                          <p:val>
                                            <p:fltVal val="1"/>
                                          </p:val>
                                        </p:tav>
                                      </p:tavLst>
                                    </p:anim>
                                    <p:anim calcmode="lin" valueType="num">
                                      <p:cBhvr>
                                        <p:cTn id="54" dur="1250" fill="hold"/>
                                        <p:tgtEl>
                                          <p:spTgt spid="40"/>
                                        </p:tgtEl>
                                        <p:attrNameLst>
                                          <p:attrName>ppt_h</p:attrName>
                                        </p:attrNameLst>
                                      </p:cBhvr>
                                      <p:tavLst>
                                        <p:tav tm="0">
                                          <p:val>
                                            <p:strVal val="#ppt_h"/>
                                          </p:val>
                                        </p:tav>
                                        <p:tav tm="100000">
                                          <p:val>
                                            <p:strVal val="#ppt_h"/>
                                          </p:val>
                                        </p:tav>
                                      </p:tavLst>
                                    </p:anim>
                                  </p:childTnLst>
                                </p:cTn>
                              </p:par>
                              <p:par>
                                <p:cTn id="55" presetID="2" presetClass="entr" presetSubtype="8" fill="hold" grpId="0" nodeType="withEffect">
                                  <p:stCondLst>
                                    <p:cond delay="0"/>
                                  </p:stCondLst>
                                  <p:childTnLst>
                                    <p:set>
                                      <p:cBhvr>
                                        <p:cTn id="56" dur="1" fill="hold">
                                          <p:stCondLst>
                                            <p:cond delay="0"/>
                                          </p:stCondLst>
                                        </p:cTn>
                                        <p:tgtEl>
                                          <p:spTgt spid="55"/>
                                        </p:tgtEl>
                                        <p:attrNameLst>
                                          <p:attrName>style.visibility</p:attrName>
                                        </p:attrNameLst>
                                      </p:cBhvr>
                                      <p:to>
                                        <p:strVal val="visible"/>
                                      </p:to>
                                    </p:set>
                                    <p:anim calcmode="lin" valueType="num">
                                      <p:cBhvr additive="base">
                                        <p:cTn id="57" dur="500" fill="hold"/>
                                        <p:tgtEl>
                                          <p:spTgt spid="55"/>
                                        </p:tgtEl>
                                        <p:attrNameLst>
                                          <p:attrName>ppt_x</p:attrName>
                                        </p:attrNameLst>
                                      </p:cBhvr>
                                      <p:tavLst>
                                        <p:tav tm="0">
                                          <p:val>
                                            <p:strVal val="0-#ppt_w/2"/>
                                          </p:val>
                                        </p:tav>
                                        <p:tav tm="100000">
                                          <p:val>
                                            <p:strVal val="#ppt_x"/>
                                          </p:val>
                                        </p:tav>
                                      </p:tavLst>
                                    </p:anim>
                                    <p:anim calcmode="lin" valueType="num">
                                      <p:cBhvr additive="base">
                                        <p:cTn id="58" dur="500" fill="hold"/>
                                        <p:tgtEl>
                                          <p:spTgt spid="55"/>
                                        </p:tgtEl>
                                        <p:attrNameLst>
                                          <p:attrName>ppt_y</p:attrName>
                                        </p:attrNameLst>
                                      </p:cBhvr>
                                      <p:tavLst>
                                        <p:tav tm="0">
                                          <p:val>
                                            <p:strVal val="#ppt_y"/>
                                          </p:val>
                                        </p:tav>
                                        <p:tav tm="100000">
                                          <p:val>
                                            <p:strVal val="#ppt_y"/>
                                          </p:val>
                                        </p:tav>
                                      </p:tavLst>
                                    </p:anim>
                                  </p:childTnLst>
                                </p:cTn>
                              </p:par>
                              <p:par>
                                <p:cTn id="59" presetID="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 calcmode="lin" valueType="num">
                                      <p:cBhvr additive="base">
                                        <p:cTn id="61" dur="500" fill="hold"/>
                                        <p:tgtEl>
                                          <p:spTgt spid="35"/>
                                        </p:tgtEl>
                                        <p:attrNameLst>
                                          <p:attrName>ppt_x</p:attrName>
                                        </p:attrNameLst>
                                      </p:cBhvr>
                                      <p:tavLst>
                                        <p:tav tm="0">
                                          <p:val>
                                            <p:strVal val="0-#ppt_w/2"/>
                                          </p:val>
                                        </p:tav>
                                        <p:tav tm="100000">
                                          <p:val>
                                            <p:strVal val="#ppt_x"/>
                                          </p:val>
                                        </p:tav>
                                      </p:tavLst>
                                    </p:anim>
                                    <p:anim calcmode="lin" valueType="num">
                                      <p:cBhvr additive="base">
                                        <p:cTn id="62" dur="500" fill="hold"/>
                                        <p:tgtEl>
                                          <p:spTgt spid="35"/>
                                        </p:tgtEl>
                                        <p:attrNameLst>
                                          <p:attrName>ppt_y</p:attrName>
                                        </p:attrNameLst>
                                      </p:cBhvr>
                                      <p:tavLst>
                                        <p:tav tm="0">
                                          <p:val>
                                            <p:strVal val="#ppt_y"/>
                                          </p:val>
                                        </p:tav>
                                        <p:tav tm="100000">
                                          <p:val>
                                            <p:strVal val="#ppt_y"/>
                                          </p:val>
                                        </p:tav>
                                      </p:tavLst>
                                    </p:anim>
                                  </p:childTnLst>
                                </p:cTn>
                              </p:par>
                              <p:par>
                                <p:cTn id="63" presetID="2" presetClass="entr" presetSubtype="2"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 calcmode="lin" valueType="num">
                                      <p:cBhvr additive="base">
                                        <p:cTn id="65" dur="500" fill="hold"/>
                                        <p:tgtEl>
                                          <p:spTgt spid="33"/>
                                        </p:tgtEl>
                                        <p:attrNameLst>
                                          <p:attrName>ppt_x</p:attrName>
                                        </p:attrNameLst>
                                      </p:cBhvr>
                                      <p:tavLst>
                                        <p:tav tm="0">
                                          <p:val>
                                            <p:strVal val="1+#ppt_w/2"/>
                                          </p:val>
                                        </p:tav>
                                        <p:tav tm="100000">
                                          <p:val>
                                            <p:strVal val="#ppt_x"/>
                                          </p:val>
                                        </p:tav>
                                      </p:tavLst>
                                    </p:anim>
                                    <p:anim calcmode="lin" valueType="num">
                                      <p:cBhvr additive="base">
                                        <p:cTn id="66" dur="500" fill="hold"/>
                                        <p:tgtEl>
                                          <p:spTgt spid="33"/>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anim calcmode="lin" valueType="num">
                                      <p:cBhvr additive="base">
                                        <p:cTn id="69" dur="500" fill="hold"/>
                                        <p:tgtEl>
                                          <p:spTgt spid="34"/>
                                        </p:tgtEl>
                                        <p:attrNameLst>
                                          <p:attrName>ppt_x</p:attrName>
                                        </p:attrNameLst>
                                      </p:cBhvr>
                                      <p:tavLst>
                                        <p:tav tm="0">
                                          <p:val>
                                            <p:strVal val="1+#ppt_w/2"/>
                                          </p:val>
                                        </p:tav>
                                        <p:tav tm="100000">
                                          <p:val>
                                            <p:strVal val="#ppt_x"/>
                                          </p:val>
                                        </p:tav>
                                      </p:tavLst>
                                    </p:anim>
                                    <p:anim calcmode="lin" valueType="num">
                                      <p:cBhvr additive="base">
                                        <p:cTn id="70"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36" grpId="0" animBg="1"/>
      <p:bldP spid="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915548" y="1549429"/>
            <a:ext cx="1229174" cy="1877813"/>
            <a:chOff x="1219201" y="2108200"/>
            <a:chExt cx="1672451" cy="2555008"/>
          </a:xfrm>
          <a:solidFill>
            <a:srgbClr val="206DC1"/>
          </a:solidFill>
        </p:grpSpPr>
        <p:sp>
          <p:nvSpPr>
            <p:cNvPr id="1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759357" y="210820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2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42240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1"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930401"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2"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664248"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3"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21336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2192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664248"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grpSp>
        <p:nvGrpSpPr>
          <p:cNvPr id="26" name="组合 25"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105393" y="1562923"/>
            <a:ext cx="1071579" cy="1522783"/>
            <a:chOff x="6920029" y="2126560"/>
            <a:chExt cx="1458023" cy="2071944"/>
          </a:xfrm>
          <a:solidFill>
            <a:srgbClr val="206DC1"/>
          </a:solidFill>
        </p:grpSpPr>
        <p:sp>
          <p:nvSpPr>
            <p:cNvPr id="2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245757"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28"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6920029"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2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39221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150648"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grpSp>
        <p:nvGrpSpPr>
          <p:cNvPr id="31" name="组合 3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7004161" y="1562923"/>
            <a:ext cx="1229174" cy="1522783"/>
            <a:chOff x="9503550" y="2126560"/>
            <a:chExt cx="1672451" cy="2071944"/>
          </a:xfrm>
          <a:solidFill>
            <a:srgbClr val="206DC1"/>
          </a:solidFill>
        </p:grpSpPr>
        <p:sp>
          <p:nvSpPr>
            <p:cNvPr id="32"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043706"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33"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706749"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214750"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94859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6"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4179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3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5035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grpSp>
        <p:nvGrpSpPr>
          <p:cNvPr id="38" name="组合 3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2776579" y="1562923"/>
            <a:ext cx="1424506" cy="1864319"/>
            <a:chOff x="3751376" y="2126560"/>
            <a:chExt cx="1938225" cy="2536648"/>
          </a:xfrm>
          <a:solidFill>
            <a:srgbClr val="206DC1"/>
          </a:solidFill>
        </p:grpSpPr>
        <p:sp>
          <p:nvSpPr>
            <p:cNvPr id="3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557306"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5"/>
            </a:p>
          </p:txBody>
        </p:sp>
        <p:sp>
          <p:nvSpPr>
            <p:cNvPr id="4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220349"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1"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728350"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46219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9315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6"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0171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6736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8"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5142954"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4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3751376"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sp>
          <p:nvSpPr>
            <p:cNvPr id="5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220729"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5"/>
            </a:p>
          </p:txBody>
        </p:sp>
      </p:grpSp>
      <p:sp>
        <p:nvSpPr>
          <p:cNvPr id="51" name="文本框 5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535303" y="383363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2" name="文本框 51"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2554961"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3" name="文本框 5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4745096"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4" name="文本框 53"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819527"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3559">
        <p15:prstTrans prst="pageCurlDouble"/>
      </p:transition>
    </mc:Choice>
    <mc:Fallback xmlns="">
      <p:transition spd="slow" advClick="0" advTm="355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par>
                                <p:cTn id="8" presetID="9" presetClass="entr" presetSubtype="0" fill="hold" nodeType="withEffect">
                                  <p:stCondLst>
                                    <p:cond delay="250"/>
                                  </p:stCondLst>
                                  <p:childTnLst>
                                    <p:set>
                                      <p:cBhvr>
                                        <p:cTn id="9" dur="1" fill="hold">
                                          <p:stCondLst>
                                            <p:cond delay="0"/>
                                          </p:stCondLst>
                                        </p:cTn>
                                        <p:tgtEl>
                                          <p:spTgt spid="38"/>
                                        </p:tgtEl>
                                        <p:attrNameLst>
                                          <p:attrName>style.visibility</p:attrName>
                                        </p:attrNameLst>
                                      </p:cBhvr>
                                      <p:to>
                                        <p:strVal val="visible"/>
                                      </p:to>
                                    </p:set>
                                    <p:animEffect transition="in" filter="dissolve">
                                      <p:cBhvr>
                                        <p:cTn id="10" dur="500"/>
                                        <p:tgtEl>
                                          <p:spTgt spid="38"/>
                                        </p:tgtEl>
                                      </p:cBhvr>
                                    </p:animEffect>
                                  </p:childTnLst>
                                </p:cTn>
                              </p:par>
                              <p:par>
                                <p:cTn id="11" presetID="9" presetClass="entr" presetSubtype="0" fill="hold" nodeType="withEffect">
                                  <p:stCondLst>
                                    <p:cond delay="500"/>
                                  </p:stCondLst>
                                  <p:childTnLst>
                                    <p:set>
                                      <p:cBhvr>
                                        <p:cTn id="12" dur="1" fill="hold">
                                          <p:stCondLst>
                                            <p:cond delay="0"/>
                                          </p:stCondLst>
                                        </p:cTn>
                                        <p:tgtEl>
                                          <p:spTgt spid="26"/>
                                        </p:tgtEl>
                                        <p:attrNameLst>
                                          <p:attrName>style.visibility</p:attrName>
                                        </p:attrNameLst>
                                      </p:cBhvr>
                                      <p:to>
                                        <p:strVal val="visible"/>
                                      </p:to>
                                    </p:set>
                                    <p:animEffect transition="in" filter="dissolve">
                                      <p:cBhvr>
                                        <p:cTn id="13" dur="500"/>
                                        <p:tgtEl>
                                          <p:spTgt spid="26"/>
                                        </p:tgtEl>
                                      </p:cBhvr>
                                    </p:animEffect>
                                  </p:childTnLst>
                                </p:cTn>
                              </p:par>
                              <p:par>
                                <p:cTn id="14" presetID="9" presetClass="entr" presetSubtype="0" fill="hold" nodeType="withEffect">
                                  <p:stCondLst>
                                    <p:cond delay="750"/>
                                  </p:stCondLst>
                                  <p:childTnLst>
                                    <p:set>
                                      <p:cBhvr>
                                        <p:cTn id="15" dur="1" fill="hold">
                                          <p:stCondLst>
                                            <p:cond delay="0"/>
                                          </p:stCondLst>
                                        </p:cTn>
                                        <p:tgtEl>
                                          <p:spTgt spid="31"/>
                                        </p:tgtEl>
                                        <p:attrNameLst>
                                          <p:attrName>style.visibility</p:attrName>
                                        </p:attrNameLst>
                                      </p:cBhvr>
                                      <p:to>
                                        <p:strVal val="visible"/>
                                      </p:to>
                                    </p:set>
                                    <p:animEffect transition="in" filter="dissolve">
                                      <p:cBhvr>
                                        <p:cTn id="16" dur="500"/>
                                        <p:tgtEl>
                                          <p:spTgt spid="31"/>
                                        </p:tgtEl>
                                      </p:cBhvr>
                                    </p:animEffect>
                                  </p:childTnLst>
                                </p:cTn>
                              </p:par>
                            </p:childTnLst>
                          </p:cTn>
                        </p:par>
                        <p:par>
                          <p:cTn id="17" fill="hold">
                            <p:stCondLst>
                              <p:cond delay="500"/>
                            </p:stCondLst>
                            <p:childTnLst>
                              <p:par>
                                <p:cTn id="18" presetID="37" presetClass="entr" presetSubtype="0" fill="hold" grpId="0" nodeType="after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fade">
                                      <p:cBhvr>
                                        <p:cTn id="20" dur="1000"/>
                                        <p:tgtEl>
                                          <p:spTgt spid="51"/>
                                        </p:tgtEl>
                                      </p:cBhvr>
                                    </p:animEffect>
                                    <p:anim calcmode="lin" valueType="num">
                                      <p:cBhvr>
                                        <p:cTn id="21" dur="1000" fill="hold"/>
                                        <p:tgtEl>
                                          <p:spTgt spid="51"/>
                                        </p:tgtEl>
                                        <p:attrNameLst>
                                          <p:attrName>ppt_x</p:attrName>
                                        </p:attrNameLst>
                                      </p:cBhvr>
                                      <p:tavLst>
                                        <p:tav tm="0">
                                          <p:val>
                                            <p:strVal val="#ppt_x"/>
                                          </p:val>
                                        </p:tav>
                                        <p:tav tm="100000">
                                          <p:val>
                                            <p:strVal val="#ppt_x"/>
                                          </p:val>
                                        </p:tav>
                                      </p:tavLst>
                                    </p:anim>
                                    <p:anim calcmode="lin" valueType="num">
                                      <p:cBhvr>
                                        <p:cTn id="22" dur="900" decel="100000" fill="hold"/>
                                        <p:tgtEl>
                                          <p:spTgt spid="51"/>
                                        </p:tgtEl>
                                        <p:attrNameLst>
                                          <p:attrName>ppt_y</p:attrName>
                                        </p:attrNameLst>
                                      </p:cBhvr>
                                      <p:tavLst>
                                        <p:tav tm="0">
                                          <p:val>
                                            <p:strVal val="#ppt_y+1"/>
                                          </p:val>
                                        </p:tav>
                                        <p:tav tm="100000">
                                          <p:val>
                                            <p:strVal val="#ppt_y-.03"/>
                                          </p:val>
                                        </p:tav>
                                      </p:tavLst>
                                    </p:anim>
                                    <p:anim calcmode="lin" valueType="num">
                                      <p:cBhvr>
                                        <p:cTn id="23" dur="100" accel="100000" fill="hold">
                                          <p:stCondLst>
                                            <p:cond delay="900"/>
                                          </p:stCondLst>
                                        </p:cTn>
                                        <p:tgtEl>
                                          <p:spTgt spid="51"/>
                                        </p:tgtEl>
                                        <p:attrNameLst>
                                          <p:attrName>ppt_y</p:attrName>
                                        </p:attrNameLst>
                                      </p:cBhvr>
                                      <p:tavLst>
                                        <p:tav tm="0">
                                          <p:val>
                                            <p:strVal val="#ppt_y-.03"/>
                                          </p:val>
                                        </p:tav>
                                        <p:tav tm="100000">
                                          <p:val>
                                            <p:strVal val="#ppt_y"/>
                                          </p:val>
                                        </p:tav>
                                      </p:tavLst>
                                    </p:anim>
                                  </p:childTnLst>
                                </p:cTn>
                              </p:par>
                              <p:par>
                                <p:cTn id="24" presetID="37" presetClass="entr" presetSubtype="0" fill="hold" grpId="0" nodeType="withEffect">
                                  <p:stCondLst>
                                    <p:cond delay="25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1000"/>
                                        <p:tgtEl>
                                          <p:spTgt spid="52"/>
                                        </p:tgtEl>
                                      </p:cBhvr>
                                    </p:animEffect>
                                    <p:anim calcmode="lin" valueType="num">
                                      <p:cBhvr>
                                        <p:cTn id="27" dur="1000" fill="hold"/>
                                        <p:tgtEl>
                                          <p:spTgt spid="52"/>
                                        </p:tgtEl>
                                        <p:attrNameLst>
                                          <p:attrName>ppt_x</p:attrName>
                                        </p:attrNameLst>
                                      </p:cBhvr>
                                      <p:tavLst>
                                        <p:tav tm="0">
                                          <p:val>
                                            <p:strVal val="#ppt_x"/>
                                          </p:val>
                                        </p:tav>
                                        <p:tav tm="100000">
                                          <p:val>
                                            <p:strVal val="#ppt_x"/>
                                          </p:val>
                                        </p:tav>
                                      </p:tavLst>
                                    </p:anim>
                                    <p:anim calcmode="lin" valueType="num">
                                      <p:cBhvr>
                                        <p:cTn id="28" dur="900" decel="100000" fill="hold"/>
                                        <p:tgtEl>
                                          <p:spTgt spid="52"/>
                                        </p:tgtEl>
                                        <p:attrNameLst>
                                          <p:attrName>ppt_y</p:attrName>
                                        </p:attrNameLst>
                                      </p:cBhvr>
                                      <p:tavLst>
                                        <p:tav tm="0">
                                          <p:val>
                                            <p:strVal val="#ppt_y+1"/>
                                          </p:val>
                                        </p:tav>
                                        <p:tav tm="100000">
                                          <p:val>
                                            <p:strVal val="#ppt_y-.03"/>
                                          </p:val>
                                        </p:tav>
                                      </p:tavLst>
                                    </p:anim>
                                    <p:anim calcmode="lin" valueType="num">
                                      <p:cBhvr>
                                        <p:cTn id="29" dur="100" accel="100000" fill="hold">
                                          <p:stCondLst>
                                            <p:cond delay="900"/>
                                          </p:stCondLst>
                                        </p:cTn>
                                        <p:tgtEl>
                                          <p:spTgt spid="52"/>
                                        </p:tgtEl>
                                        <p:attrNameLst>
                                          <p:attrName>ppt_y</p:attrName>
                                        </p:attrNameLst>
                                      </p:cBhvr>
                                      <p:tavLst>
                                        <p:tav tm="0">
                                          <p:val>
                                            <p:strVal val="#ppt_y-.03"/>
                                          </p:val>
                                        </p:tav>
                                        <p:tav tm="100000">
                                          <p:val>
                                            <p:strVal val="#ppt_y"/>
                                          </p:val>
                                        </p:tav>
                                      </p:tavLst>
                                    </p:anim>
                                  </p:childTnLst>
                                </p:cTn>
                              </p:par>
                              <p:par>
                                <p:cTn id="30" presetID="37" presetClass="entr" presetSubtype="0" fill="hold" grpId="0" nodeType="withEffect">
                                  <p:stCondLst>
                                    <p:cond delay="5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1000"/>
                                        <p:tgtEl>
                                          <p:spTgt spid="53"/>
                                        </p:tgtEl>
                                      </p:cBhvr>
                                    </p:animEffect>
                                    <p:anim calcmode="lin" valueType="num">
                                      <p:cBhvr>
                                        <p:cTn id="33" dur="1000" fill="hold"/>
                                        <p:tgtEl>
                                          <p:spTgt spid="53"/>
                                        </p:tgtEl>
                                        <p:attrNameLst>
                                          <p:attrName>ppt_x</p:attrName>
                                        </p:attrNameLst>
                                      </p:cBhvr>
                                      <p:tavLst>
                                        <p:tav tm="0">
                                          <p:val>
                                            <p:strVal val="#ppt_x"/>
                                          </p:val>
                                        </p:tav>
                                        <p:tav tm="100000">
                                          <p:val>
                                            <p:strVal val="#ppt_x"/>
                                          </p:val>
                                        </p:tav>
                                      </p:tavLst>
                                    </p:anim>
                                    <p:anim calcmode="lin" valueType="num">
                                      <p:cBhvr>
                                        <p:cTn id="34" dur="900" decel="100000" fill="hold"/>
                                        <p:tgtEl>
                                          <p:spTgt spid="53"/>
                                        </p:tgtEl>
                                        <p:attrNameLst>
                                          <p:attrName>ppt_y</p:attrName>
                                        </p:attrNameLst>
                                      </p:cBhvr>
                                      <p:tavLst>
                                        <p:tav tm="0">
                                          <p:val>
                                            <p:strVal val="#ppt_y+1"/>
                                          </p:val>
                                        </p:tav>
                                        <p:tav tm="100000">
                                          <p:val>
                                            <p:strVal val="#ppt_y-.03"/>
                                          </p:val>
                                        </p:tav>
                                      </p:tavLst>
                                    </p:anim>
                                    <p:anim calcmode="lin" valueType="num">
                                      <p:cBhvr>
                                        <p:cTn id="35" dur="100" accel="100000" fill="hold">
                                          <p:stCondLst>
                                            <p:cond delay="900"/>
                                          </p:stCondLst>
                                        </p:cTn>
                                        <p:tgtEl>
                                          <p:spTgt spid="53"/>
                                        </p:tgtEl>
                                        <p:attrNameLst>
                                          <p:attrName>ppt_y</p:attrName>
                                        </p:attrNameLst>
                                      </p:cBhvr>
                                      <p:tavLst>
                                        <p:tav tm="0">
                                          <p:val>
                                            <p:strVal val="#ppt_y-.03"/>
                                          </p:val>
                                        </p:tav>
                                        <p:tav tm="100000">
                                          <p:val>
                                            <p:strVal val="#ppt_y"/>
                                          </p:val>
                                        </p:tav>
                                      </p:tavLst>
                                    </p:anim>
                                  </p:childTnLst>
                                </p:cTn>
                              </p:par>
                              <p:par>
                                <p:cTn id="36" presetID="37" presetClass="entr" presetSubtype="0" fill="hold" grpId="0" nodeType="withEffect">
                                  <p:stCondLst>
                                    <p:cond delay="75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1000"/>
                                        <p:tgtEl>
                                          <p:spTgt spid="54"/>
                                        </p:tgtEl>
                                      </p:cBhvr>
                                    </p:animEffect>
                                    <p:anim calcmode="lin" valueType="num">
                                      <p:cBhvr>
                                        <p:cTn id="39" dur="1000" fill="hold"/>
                                        <p:tgtEl>
                                          <p:spTgt spid="54"/>
                                        </p:tgtEl>
                                        <p:attrNameLst>
                                          <p:attrName>ppt_x</p:attrName>
                                        </p:attrNameLst>
                                      </p:cBhvr>
                                      <p:tavLst>
                                        <p:tav tm="0">
                                          <p:val>
                                            <p:strVal val="#ppt_x"/>
                                          </p:val>
                                        </p:tav>
                                        <p:tav tm="100000">
                                          <p:val>
                                            <p:strVal val="#ppt_x"/>
                                          </p:val>
                                        </p:tav>
                                      </p:tavLst>
                                    </p:anim>
                                    <p:anim calcmode="lin" valueType="num">
                                      <p:cBhvr>
                                        <p:cTn id="40" dur="900" decel="100000" fill="hold"/>
                                        <p:tgtEl>
                                          <p:spTgt spid="54"/>
                                        </p:tgtEl>
                                        <p:attrNameLst>
                                          <p:attrName>ppt_y</p:attrName>
                                        </p:attrNameLst>
                                      </p:cBhvr>
                                      <p:tavLst>
                                        <p:tav tm="0">
                                          <p:val>
                                            <p:strVal val="#ppt_y+1"/>
                                          </p:val>
                                        </p:tav>
                                        <p:tav tm="100000">
                                          <p:val>
                                            <p:strVal val="#ppt_y-.03"/>
                                          </p:val>
                                        </p:tav>
                                      </p:tavLst>
                                    </p:anim>
                                    <p:anim calcmode="lin" valueType="num">
                                      <p:cBhvr>
                                        <p:cTn id="41" dur="100" accel="100000" fill="hold">
                                          <p:stCondLst>
                                            <p:cond delay="900"/>
                                          </p:stCondLst>
                                        </p:cTn>
                                        <p:tgtEl>
                                          <p:spTgt spid="5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5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淘宝网chenying0907出品 34"/>
          <p:cNvSpPr>
            <a:spLocks noEditPoints="1"/>
          </p:cNvSpPr>
          <p:nvPr/>
        </p:nvSpPr>
        <p:spPr bwMode="auto">
          <a:xfrm>
            <a:off x="1129468" y="1461607"/>
            <a:ext cx="4398963" cy="2447925"/>
          </a:xfrm>
          <a:custGeom>
            <a:avLst/>
            <a:gdLst>
              <a:gd name="T0" fmla="*/ 2771 w 2771"/>
              <a:gd name="T1" fmla="*/ 0 h 1542"/>
              <a:gd name="T2" fmla="*/ 2463 w 2771"/>
              <a:gd name="T3" fmla="*/ 9 h 1542"/>
              <a:gd name="T4" fmla="*/ 919 w 2771"/>
              <a:gd name="T5" fmla="*/ 621 h 1542"/>
              <a:gd name="T6" fmla="*/ 614 w 2771"/>
              <a:gd name="T7" fmla="*/ 919 h 1542"/>
              <a:gd name="T8" fmla="*/ 614 w 2771"/>
              <a:gd name="T9" fmla="*/ 919 h 1542"/>
              <a:gd name="T10" fmla="*/ 1840 w 2771"/>
              <a:gd name="T11" fmla="*/ 316 h 1542"/>
              <a:gd name="T12" fmla="*/ 2147 w 2771"/>
              <a:gd name="T13" fmla="*/ 611 h 1542"/>
              <a:gd name="T14" fmla="*/ 1533 w 2771"/>
              <a:gd name="T15" fmla="*/ 621 h 1542"/>
              <a:gd name="T16" fmla="*/ 1226 w 2771"/>
              <a:gd name="T17" fmla="*/ 919 h 1542"/>
              <a:gd name="T18" fmla="*/ 1226 w 2771"/>
              <a:gd name="T19" fmla="*/ 919 h 1542"/>
              <a:gd name="T20" fmla="*/ 1542 w 2771"/>
              <a:gd name="T21" fmla="*/ 919 h 1542"/>
              <a:gd name="T22" fmla="*/ 1235 w 2771"/>
              <a:gd name="T23" fmla="*/ 316 h 1542"/>
              <a:gd name="T24" fmla="*/ 928 w 2771"/>
              <a:gd name="T25" fmla="*/ 611 h 1542"/>
              <a:gd name="T26" fmla="*/ 919 w 2771"/>
              <a:gd name="T27" fmla="*/ 611 h 1542"/>
              <a:gd name="T28" fmla="*/ 919 w 2771"/>
              <a:gd name="T29" fmla="*/ 611 h 1542"/>
              <a:gd name="T30" fmla="*/ 623 w 2771"/>
              <a:gd name="T31" fmla="*/ 928 h 1542"/>
              <a:gd name="T32" fmla="*/ 1226 w 2771"/>
              <a:gd name="T33" fmla="*/ 1226 h 1542"/>
              <a:gd name="T34" fmla="*/ 1533 w 2771"/>
              <a:gd name="T35" fmla="*/ 928 h 1542"/>
              <a:gd name="T36" fmla="*/ 1542 w 2771"/>
              <a:gd name="T37" fmla="*/ 928 h 1542"/>
              <a:gd name="T38" fmla="*/ 1542 w 2771"/>
              <a:gd name="T39" fmla="*/ 928 h 1542"/>
              <a:gd name="T40" fmla="*/ 1849 w 2771"/>
              <a:gd name="T41" fmla="*/ 1226 h 1542"/>
              <a:gd name="T42" fmla="*/ 2147 w 2771"/>
              <a:gd name="T43" fmla="*/ 621 h 1542"/>
              <a:gd name="T44" fmla="*/ 2454 w 2771"/>
              <a:gd name="T45" fmla="*/ 621 h 1542"/>
              <a:gd name="T46" fmla="*/ 2156 w 2771"/>
              <a:gd name="T47" fmla="*/ 611 h 1542"/>
              <a:gd name="T48" fmla="*/ 2156 w 2771"/>
              <a:gd name="T49" fmla="*/ 611 h 1542"/>
              <a:gd name="T50" fmla="*/ 2454 w 2771"/>
              <a:gd name="T51" fmla="*/ 307 h 1542"/>
              <a:gd name="T52" fmla="*/ 1849 w 2771"/>
              <a:gd name="T53" fmla="*/ 9 h 1542"/>
              <a:gd name="T54" fmla="*/ 1542 w 2771"/>
              <a:gd name="T55" fmla="*/ 307 h 1542"/>
              <a:gd name="T56" fmla="*/ 1533 w 2771"/>
              <a:gd name="T57" fmla="*/ 307 h 1542"/>
              <a:gd name="T58" fmla="*/ 1533 w 2771"/>
              <a:gd name="T59" fmla="*/ 307 h 1542"/>
              <a:gd name="T60" fmla="*/ 1226 w 2771"/>
              <a:gd name="T61" fmla="*/ 9 h 1542"/>
              <a:gd name="T62" fmla="*/ 623 w 2771"/>
              <a:gd name="T63" fmla="*/ 9 h 1542"/>
              <a:gd name="T64" fmla="*/ 316 w 2771"/>
              <a:gd name="T65" fmla="*/ 307 h 1542"/>
              <a:gd name="T66" fmla="*/ 614 w 2771"/>
              <a:gd name="T67" fmla="*/ 316 h 1542"/>
              <a:gd name="T68" fmla="*/ 614 w 2771"/>
              <a:gd name="T69" fmla="*/ 316 h 1542"/>
              <a:gd name="T70" fmla="*/ 307 w 2771"/>
              <a:gd name="T71" fmla="*/ 316 h 1542"/>
              <a:gd name="T72" fmla="*/ 9 w 2771"/>
              <a:gd name="T73" fmla="*/ 919 h 1542"/>
              <a:gd name="T74" fmla="*/ 307 w 2771"/>
              <a:gd name="T75" fmla="*/ 1226 h 1542"/>
              <a:gd name="T76" fmla="*/ 316 w 2771"/>
              <a:gd name="T77" fmla="*/ 928 h 1542"/>
              <a:gd name="T78" fmla="*/ 316 w 2771"/>
              <a:gd name="T79" fmla="*/ 928 h 1542"/>
              <a:gd name="T80" fmla="*/ 316 w 2771"/>
              <a:gd name="T81" fmla="*/ 1235 h 1542"/>
              <a:gd name="T82" fmla="*/ 919 w 2771"/>
              <a:gd name="T83" fmla="*/ 1533 h 1542"/>
              <a:gd name="T84" fmla="*/ 1226 w 2771"/>
              <a:gd name="T85" fmla="*/ 1235 h 1542"/>
              <a:gd name="T86" fmla="*/ 1235 w 2771"/>
              <a:gd name="T87" fmla="*/ 1235 h 1542"/>
              <a:gd name="T88" fmla="*/ 1235 w 2771"/>
              <a:gd name="T89" fmla="*/ 1235 h 1542"/>
              <a:gd name="T90" fmla="*/ 1542 w 2771"/>
              <a:gd name="T91" fmla="*/ 1533 h 1542"/>
              <a:gd name="T92" fmla="*/ 2147 w 2771"/>
              <a:gd name="T93" fmla="*/ 1533 h 1542"/>
              <a:gd name="T94" fmla="*/ 2454 w 2771"/>
              <a:gd name="T95" fmla="*/ 1235 h 1542"/>
              <a:gd name="T96" fmla="*/ 2156 w 2771"/>
              <a:gd name="T97" fmla="*/ 1226 h 1542"/>
              <a:gd name="T98" fmla="*/ 2156 w 2771"/>
              <a:gd name="T99" fmla="*/ 1226 h 1542"/>
              <a:gd name="T100" fmla="*/ 2463 w 2771"/>
              <a:gd name="T101" fmla="*/ 1226 h 1542"/>
              <a:gd name="T102" fmla="*/ 2761 w 2771"/>
              <a:gd name="T103" fmla="*/ 621 h 1542"/>
              <a:gd name="T104" fmla="*/ 2463 w 2771"/>
              <a:gd name="T105" fmla="*/ 316 h 1542"/>
              <a:gd name="T106" fmla="*/ 307 w 2771"/>
              <a:gd name="T107" fmla="*/ 9 h 1542"/>
              <a:gd name="T108" fmla="*/ 307 w 2771"/>
              <a:gd name="T109" fmla="*/ 9 h 1542"/>
              <a:gd name="T110" fmla="*/ 9 w 2771"/>
              <a:gd name="T111" fmla="*/ 1533 h 1542"/>
              <a:gd name="T112" fmla="*/ 2761 w 2771"/>
              <a:gd name="T113" fmla="*/ 1235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71" h="1542">
                <a:moveTo>
                  <a:pt x="0" y="0"/>
                </a:moveTo>
                <a:lnTo>
                  <a:pt x="0" y="1542"/>
                </a:lnTo>
                <a:lnTo>
                  <a:pt x="2771" y="1542"/>
                </a:lnTo>
                <a:lnTo>
                  <a:pt x="2771" y="0"/>
                </a:lnTo>
                <a:lnTo>
                  <a:pt x="0" y="0"/>
                </a:lnTo>
                <a:close/>
                <a:moveTo>
                  <a:pt x="2761" y="307"/>
                </a:moveTo>
                <a:lnTo>
                  <a:pt x="2463" y="307"/>
                </a:lnTo>
                <a:lnTo>
                  <a:pt x="2463" y="9"/>
                </a:lnTo>
                <a:lnTo>
                  <a:pt x="2761" y="9"/>
                </a:lnTo>
                <a:lnTo>
                  <a:pt x="2761" y="307"/>
                </a:lnTo>
                <a:close/>
                <a:moveTo>
                  <a:pt x="623" y="621"/>
                </a:moveTo>
                <a:lnTo>
                  <a:pt x="919" y="621"/>
                </a:lnTo>
                <a:lnTo>
                  <a:pt x="919" y="919"/>
                </a:lnTo>
                <a:lnTo>
                  <a:pt x="623" y="919"/>
                </a:lnTo>
                <a:lnTo>
                  <a:pt x="623" y="621"/>
                </a:lnTo>
                <a:close/>
                <a:moveTo>
                  <a:pt x="614" y="919"/>
                </a:moveTo>
                <a:lnTo>
                  <a:pt x="316" y="919"/>
                </a:lnTo>
                <a:lnTo>
                  <a:pt x="316" y="621"/>
                </a:lnTo>
                <a:lnTo>
                  <a:pt x="614" y="621"/>
                </a:lnTo>
                <a:lnTo>
                  <a:pt x="614" y="919"/>
                </a:lnTo>
                <a:close/>
                <a:moveTo>
                  <a:pt x="1840" y="611"/>
                </a:moveTo>
                <a:lnTo>
                  <a:pt x="1542" y="611"/>
                </a:lnTo>
                <a:lnTo>
                  <a:pt x="1542" y="316"/>
                </a:lnTo>
                <a:lnTo>
                  <a:pt x="1840" y="316"/>
                </a:lnTo>
                <a:lnTo>
                  <a:pt x="1840" y="611"/>
                </a:lnTo>
                <a:close/>
                <a:moveTo>
                  <a:pt x="1849" y="316"/>
                </a:moveTo>
                <a:lnTo>
                  <a:pt x="2147" y="316"/>
                </a:lnTo>
                <a:lnTo>
                  <a:pt x="2147" y="611"/>
                </a:lnTo>
                <a:lnTo>
                  <a:pt x="1849" y="611"/>
                </a:lnTo>
                <a:lnTo>
                  <a:pt x="1849" y="316"/>
                </a:lnTo>
                <a:close/>
                <a:moveTo>
                  <a:pt x="1235" y="621"/>
                </a:moveTo>
                <a:lnTo>
                  <a:pt x="1533" y="621"/>
                </a:lnTo>
                <a:lnTo>
                  <a:pt x="1533" y="919"/>
                </a:lnTo>
                <a:lnTo>
                  <a:pt x="1235" y="919"/>
                </a:lnTo>
                <a:lnTo>
                  <a:pt x="1235" y="621"/>
                </a:lnTo>
                <a:close/>
                <a:moveTo>
                  <a:pt x="1226" y="919"/>
                </a:moveTo>
                <a:lnTo>
                  <a:pt x="928" y="919"/>
                </a:lnTo>
                <a:lnTo>
                  <a:pt x="928" y="621"/>
                </a:lnTo>
                <a:lnTo>
                  <a:pt x="1226" y="621"/>
                </a:lnTo>
                <a:lnTo>
                  <a:pt x="1226" y="919"/>
                </a:lnTo>
                <a:close/>
                <a:moveTo>
                  <a:pt x="1542" y="621"/>
                </a:moveTo>
                <a:lnTo>
                  <a:pt x="1840" y="621"/>
                </a:lnTo>
                <a:lnTo>
                  <a:pt x="1840" y="919"/>
                </a:lnTo>
                <a:lnTo>
                  <a:pt x="1542" y="919"/>
                </a:lnTo>
                <a:lnTo>
                  <a:pt x="1542" y="621"/>
                </a:lnTo>
                <a:close/>
                <a:moveTo>
                  <a:pt x="1533" y="611"/>
                </a:moveTo>
                <a:lnTo>
                  <a:pt x="1235" y="611"/>
                </a:lnTo>
                <a:lnTo>
                  <a:pt x="1235" y="316"/>
                </a:lnTo>
                <a:lnTo>
                  <a:pt x="1533" y="316"/>
                </a:lnTo>
                <a:lnTo>
                  <a:pt x="1533" y="611"/>
                </a:lnTo>
                <a:close/>
                <a:moveTo>
                  <a:pt x="1226" y="611"/>
                </a:moveTo>
                <a:lnTo>
                  <a:pt x="928" y="611"/>
                </a:lnTo>
                <a:lnTo>
                  <a:pt x="928" y="316"/>
                </a:lnTo>
                <a:lnTo>
                  <a:pt x="1226" y="316"/>
                </a:lnTo>
                <a:lnTo>
                  <a:pt x="1226" y="611"/>
                </a:lnTo>
                <a:close/>
                <a:moveTo>
                  <a:pt x="919" y="611"/>
                </a:moveTo>
                <a:lnTo>
                  <a:pt x="623" y="611"/>
                </a:lnTo>
                <a:lnTo>
                  <a:pt x="623" y="316"/>
                </a:lnTo>
                <a:lnTo>
                  <a:pt x="919" y="316"/>
                </a:lnTo>
                <a:lnTo>
                  <a:pt x="919" y="611"/>
                </a:lnTo>
                <a:close/>
                <a:moveTo>
                  <a:pt x="919" y="928"/>
                </a:moveTo>
                <a:lnTo>
                  <a:pt x="919" y="1226"/>
                </a:lnTo>
                <a:lnTo>
                  <a:pt x="623" y="1226"/>
                </a:lnTo>
                <a:lnTo>
                  <a:pt x="623" y="928"/>
                </a:lnTo>
                <a:lnTo>
                  <a:pt x="919" y="928"/>
                </a:lnTo>
                <a:close/>
                <a:moveTo>
                  <a:pt x="928" y="928"/>
                </a:moveTo>
                <a:lnTo>
                  <a:pt x="1226" y="928"/>
                </a:lnTo>
                <a:lnTo>
                  <a:pt x="1226" y="1226"/>
                </a:lnTo>
                <a:lnTo>
                  <a:pt x="928" y="1226"/>
                </a:lnTo>
                <a:lnTo>
                  <a:pt x="928" y="928"/>
                </a:lnTo>
                <a:close/>
                <a:moveTo>
                  <a:pt x="1235" y="928"/>
                </a:moveTo>
                <a:lnTo>
                  <a:pt x="1533" y="928"/>
                </a:lnTo>
                <a:lnTo>
                  <a:pt x="1533" y="1226"/>
                </a:lnTo>
                <a:lnTo>
                  <a:pt x="1235" y="1226"/>
                </a:lnTo>
                <a:lnTo>
                  <a:pt x="1235" y="928"/>
                </a:lnTo>
                <a:close/>
                <a:moveTo>
                  <a:pt x="1542" y="928"/>
                </a:moveTo>
                <a:lnTo>
                  <a:pt x="1840" y="928"/>
                </a:lnTo>
                <a:lnTo>
                  <a:pt x="1840" y="1226"/>
                </a:lnTo>
                <a:lnTo>
                  <a:pt x="1542" y="1226"/>
                </a:lnTo>
                <a:lnTo>
                  <a:pt x="1542" y="928"/>
                </a:lnTo>
                <a:close/>
                <a:moveTo>
                  <a:pt x="1849" y="928"/>
                </a:moveTo>
                <a:lnTo>
                  <a:pt x="2147" y="928"/>
                </a:lnTo>
                <a:lnTo>
                  <a:pt x="2147" y="1226"/>
                </a:lnTo>
                <a:lnTo>
                  <a:pt x="1849" y="1226"/>
                </a:lnTo>
                <a:lnTo>
                  <a:pt x="1849" y="928"/>
                </a:lnTo>
                <a:close/>
                <a:moveTo>
                  <a:pt x="1849" y="919"/>
                </a:moveTo>
                <a:lnTo>
                  <a:pt x="1849" y="621"/>
                </a:lnTo>
                <a:lnTo>
                  <a:pt x="2147" y="621"/>
                </a:lnTo>
                <a:lnTo>
                  <a:pt x="2147" y="919"/>
                </a:lnTo>
                <a:lnTo>
                  <a:pt x="1849" y="919"/>
                </a:lnTo>
                <a:close/>
                <a:moveTo>
                  <a:pt x="2156" y="621"/>
                </a:moveTo>
                <a:lnTo>
                  <a:pt x="2454" y="621"/>
                </a:lnTo>
                <a:lnTo>
                  <a:pt x="2454" y="919"/>
                </a:lnTo>
                <a:lnTo>
                  <a:pt x="2156" y="919"/>
                </a:lnTo>
                <a:lnTo>
                  <a:pt x="2156" y="621"/>
                </a:lnTo>
                <a:close/>
                <a:moveTo>
                  <a:pt x="2156" y="611"/>
                </a:moveTo>
                <a:lnTo>
                  <a:pt x="2156" y="316"/>
                </a:lnTo>
                <a:lnTo>
                  <a:pt x="2454" y="316"/>
                </a:lnTo>
                <a:lnTo>
                  <a:pt x="2454" y="611"/>
                </a:lnTo>
                <a:lnTo>
                  <a:pt x="2156" y="611"/>
                </a:lnTo>
                <a:close/>
                <a:moveTo>
                  <a:pt x="2156" y="307"/>
                </a:moveTo>
                <a:lnTo>
                  <a:pt x="2156" y="9"/>
                </a:lnTo>
                <a:lnTo>
                  <a:pt x="2454" y="9"/>
                </a:lnTo>
                <a:lnTo>
                  <a:pt x="2454" y="307"/>
                </a:lnTo>
                <a:lnTo>
                  <a:pt x="2156" y="307"/>
                </a:lnTo>
                <a:close/>
                <a:moveTo>
                  <a:pt x="2147" y="307"/>
                </a:moveTo>
                <a:lnTo>
                  <a:pt x="1849" y="307"/>
                </a:lnTo>
                <a:lnTo>
                  <a:pt x="1849" y="9"/>
                </a:lnTo>
                <a:lnTo>
                  <a:pt x="2147" y="9"/>
                </a:lnTo>
                <a:lnTo>
                  <a:pt x="2147" y="307"/>
                </a:lnTo>
                <a:close/>
                <a:moveTo>
                  <a:pt x="1840" y="307"/>
                </a:moveTo>
                <a:lnTo>
                  <a:pt x="1542" y="307"/>
                </a:lnTo>
                <a:lnTo>
                  <a:pt x="1542" y="9"/>
                </a:lnTo>
                <a:lnTo>
                  <a:pt x="1840" y="9"/>
                </a:lnTo>
                <a:lnTo>
                  <a:pt x="1840" y="307"/>
                </a:lnTo>
                <a:close/>
                <a:moveTo>
                  <a:pt x="1533" y="307"/>
                </a:moveTo>
                <a:lnTo>
                  <a:pt x="1235" y="307"/>
                </a:lnTo>
                <a:lnTo>
                  <a:pt x="1235" y="9"/>
                </a:lnTo>
                <a:lnTo>
                  <a:pt x="1533" y="9"/>
                </a:lnTo>
                <a:lnTo>
                  <a:pt x="1533" y="307"/>
                </a:lnTo>
                <a:close/>
                <a:moveTo>
                  <a:pt x="1226" y="307"/>
                </a:moveTo>
                <a:lnTo>
                  <a:pt x="928" y="307"/>
                </a:lnTo>
                <a:lnTo>
                  <a:pt x="928" y="9"/>
                </a:lnTo>
                <a:lnTo>
                  <a:pt x="1226" y="9"/>
                </a:lnTo>
                <a:lnTo>
                  <a:pt x="1226" y="307"/>
                </a:lnTo>
                <a:close/>
                <a:moveTo>
                  <a:pt x="919" y="307"/>
                </a:moveTo>
                <a:lnTo>
                  <a:pt x="623" y="307"/>
                </a:lnTo>
                <a:lnTo>
                  <a:pt x="623" y="9"/>
                </a:lnTo>
                <a:lnTo>
                  <a:pt x="919" y="9"/>
                </a:lnTo>
                <a:lnTo>
                  <a:pt x="919" y="307"/>
                </a:lnTo>
                <a:close/>
                <a:moveTo>
                  <a:pt x="614" y="307"/>
                </a:moveTo>
                <a:lnTo>
                  <a:pt x="316" y="307"/>
                </a:lnTo>
                <a:lnTo>
                  <a:pt x="316" y="9"/>
                </a:lnTo>
                <a:lnTo>
                  <a:pt x="614" y="9"/>
                </a:lnTo>
                <a:lnTo>
                  <a:pt x="614" y="307"/>
                </a:lnTo>
                <a:close/>
                <a:moveTo>
                  <a:pt x="614" y="316"/>
                </a:moveTo>
                <a:lnTo>
                  <a:pt x="614" y="611"/>
                </a:lnTo>
                <a:lnTo>
                  <a:pt x="316" y="611"/>
                </a:lnTo>
                <a:lnTo>
                  <a:pt x="316" y="316"/>
                </a:lnTo>
                <a:lnTo>
                  <a:pt x="614" y="316"/>
                </a:lnTo>
                <a:close/>
                <a:moveTo>
                  <a:pt x="307" y="611"/>
                </a:moveTo>
                <a:lnTo>
                  <a:pt x="9" y="611"/>
                </a:lnTo>
                <a:lnTo>
                  <a:pt x="9" y="316"/>
                </a:lnTo>
                <a:lnTo>
                  <a:pt x="307" y="316"/>
                </a:lnTo>
                <a:lnTo>
                  <a:pt x="307" y="611"/>
                </a:lnTo>
                <a:close/>
                <a:moveTo>
                  <a:pt x="307" y="621"/>
                </a:moveTo>
                <a:lnTo>
                  <a:pt x="307" y="919"/>
                </a:lnTo>
                <a:lnTo>
                  <a:pt x="9" y="919"/>
                </a:lnTo>
                <a:lnTo>
                  <a:pt x="9" y="621"/>
                </a:lnTo>
                <a:lnTo>
                  <a:pt x="307" y="621"/>
                </a:lnTo>
                <a:close/>
                <a:moveTo>
                  <a:pt x="307" y="928"/>
                </a:moveTo>
                <a:lnTo>
                  <a:pt x="307" y="1226"/>
                </a:lnTo>
                <a:lnTo>
                  <a:pt x="9" y="1226"/>
                </a:lnTo>
                <a:lnTo>
                  <a:pt x="9" y="928"/>
                </a:lnTo>
                <a:lnTo>
                  <a:pt x="307" y="928"/>
                </a:lnTo>
                <a:close/>
                <a:moveTo>
                  <a:pt x="316" y="928"/>
                </a:moveTo>
                <a:lnTo>
                  <a:pt x="614" y="928"/>
                </a:lnTo>
                <a:lnTo>
                  <a:pt x="614" y="1226"/>
                </a:lnTo>
                <a:lnTo>
                  <a:pt x="316" y="1226"/>
                </a:lnTo>
                <a:lnTo>
                  <a:pt x="316" y="928"/>
                </a:lnTo>
                <a:close/>
                <a:moveTo>
                  <a:pt x="614" y="1235"/>
                </a:moveTo>
                <a:lnTo>
                  <a:pt x="614" y="1533"/>
                </a:lnTo>
                <a:lnTo>
                  <a:pt x="316" y="1533"/>
                </a:lnTo>
                <a:lnTo>
                  <a:pt x="316" y="1235"/>
                </a:lnTo>
                <a:lnTo>
                  <a:pt x="614" y="1235"/>
                </a:lnTo>
                <a:close/>
                <a:moveTo>
                  <a:pt x="623" y="1235"/>
                </a:moveTo>
                <a:lnTo>
                  <a:pt x="919" y="1235"/>
                </a:lnTo>
                <a:lnTo>
                  <a:pt x="919" y="1533"/>
                </a:lnTo>
                <a:lnTo>
                  <a:pt x="623" y="1533"/>
                </a:lnTo>
                <a:lnTo>
                  <a:pt x="623" y="1235"/>
                </a:lnTo>
                <a:close/>
                <a:moveTo>
                  <a:pt x="928" y="1235"/>
                </a:moveTo>
                <a:lnTo>
                  <a:pt x="1226" y="1235"/>
                </a:lnTo>
                <a:lnTo>
                  <a:pt x="1226" y="1533"/>
                </a:lnTo>
                <a:lnTo>
                  <a:pt x="928" y="1533"/>
                </a:lnTo>
                <a:lnTo>
                  <a:pt x="928" y="1235"/>
                </a:lnTo>
                <a:close/>
                <a:moveTo>
                  <a:pt x="1235" y="1235"/>
                </a:moveTo>
                <a:lnTo>
                  <a:pt x="1533" y="1235"/>
                </a:lnTo>
                <a:lnTo>
                  <a:pt x="1533" y="1533"/>
                </a:lnTo>
                <a:lnTo>
                  <a:pt x="1235" y="1533"/>
                </a:lnTo>
                <a:lnTo>
                  <a:pt x="1235" y="1235"/>
                </a:lnTo>
                <a:close/>
                <a:moveTo>
                  <a:pt x="1542" y="1235"/>
                </a:moveTo>
                <a:lnTo>
                  <a:pt x="1840" y="1235"/>
                </a:lnTo>
                <a:lnTo>
                  <a:pt x="1840" y="1533"/>
                </a:lnTo>
                <a:lnTo>
                  <a:pt x="1542" y="1533"/>
                </a:lnTo>
                <a:lnTo>
                  <a:pt x="1542" y="1235"/>
                </a:lnTo>
                <a:close/>
                <a:moveTo>
                  <a:pt x="1849" y="1235"/>
                </a:moveTo>
                <a:lnTo>
                  <a:pt x="2147" y="1235"/>
                </a:lnTo>
                <a:lnTo>
                  <a:pt x="2147" y="1533"/>
                </a:lnTo>
                <a:lnTo>
                  <a:pt x="1849" y="1533"/>
                </a:lnTo>
                <a:lnTo>
                  <a:pt x="1849" y="1235"/>
                </a:lnTo>
                <a:close/>
                <a:moveTo>
                  <a:pt x="2156" y="1235"/>
                </a:moveTo>
                <a:lnTo>
                  <a:pt x="2454" y="1235"/>
                </a:lnTo>
                <a:lnTo>
                  <a:pt x="2454" y="1533"/>
                </a:lnTo>
                <a:lnTo>
                  <a:pt x="2156" y="1533"/>
                </a:lnTo>
                <a:lnTo>
                  <a:pt x="2156" y="1235"/>
                </a:lnTo>
                <a:close/>
                <a:moveTo>
                  <a:pt x="2156" y="1226"/>
                </a:moveTo>
                <a:lnTo>
                  <a:pt x="2156" y="928"/>
                </a:lnTo>
                <a:lnTo>
                  <a:pt x="2454" y="928"/>
                </a:lnTo>
                <a:lnTo>
                  <a:pt x="2454" y="1226"/>
                </a:lnTo>
                <a:lnTo>
                  <a:pt x="2156" y="1226"/>
                </a:lnTo>
                <a:close/>
                <a:moveTo>
                  <a:pt x="2463" y="928"/>
                </a:moveTo>
                <a:lnTo>
                  <a:pt x="2761" y="928"/>
                </a:lnTo>
                <a:lnTo>
                  <a:pt x="2761" y="1226"/>
                </a:lnTo>
                <a:lnTo>
                  <a:pt x="2463" y="1226"/>
                </a:lnTo>
                <a:lnTo>
                  <a:pt x="2463" y="928"/>
                </a:lnTo>
                <a:close/>
                <a:moveTo>
                  <a:pt x="2463" y="919"/>
                </a:moveTo>
                <a:lnTo>
                  <a:pt x="2463" y="621"/>
                </a:lnTo>
                <a:lnTo>
                  <a:pt x="2761" y="621"/>
                </a:lnTo>
                <a:lnTo>
                  <a:pt x="2761" y="919"/>
                </a:lnTo>
                <a:lnTo>
                  <a:pt x="2463" y="919"/>
                </a:lnTo>
                <a:close/>
                <a:moveTo>
                  <a:pt x="2463" y="611"/>
                </a:moveTo>
                <a:lnTo>
                  <a:pt x="2463" y="316"/>
                </a:lnTo>
                <a:lnTo>
                  <a:pt x="2761" y="316"/>
                </a:lnTo>
                <a:lnTo>
                  <a:pt x="2761" y="611"/>
                </a:lnTo>
                <a:lnTo>
                  <a:pt x="2463" y="611"/>
                </a:lnTo>
                <a:close/>
                <a:moveTo>
                  <a:pt x="307" y="9"/>
                </a:moveTo>
                <a:lnTo>
                  <a:pt x="307" y="307"/>
                </a:lnTo>
                <a:lnTo>
                  <a:pt x="9" y="307"/>
                </a:lnTo>
                <a:lnTo>
                  <a:pt x="9" y="9"/>
                </a:lnTo>
                <a:lnTo>
                  <a:pt x="307" y="9"/>
                </a:lnTo>
                <a:close/>
                <a:moveTo>
                  <a:pt x="9" y="1235"/>
                </a:moveTo>
                <a:lnTo>
                  <a:pt x="307" y="1235"/>
                </a:lnTo>
                <a:lnTo>
                  <a:pt x="307" y="1533"/>
                </a:lnTo>
                <a:lnTo>
                  <a:pt x="9" y="1533"/>
                </a:lnTo>
                <a:lnTo>
                  <a:pt x="9" y="1235"/>
                </a:lnTo>
                <a:close/>
                <a:moveTo>
                  <a:pt x="2463" y="1533"/>
                </a:moveTo>
                <a:lnTo>
                  <a:pt x="2463" y="1235"/>
                </a:lnTo>
                <a:lnTo>
                  <a:pt x="2761" y="1235"/>
                </a:lnTo>
                <a:lnTo>
                  <a:pt x="2761" y="1533"/>
                </a:lnTo>
                <a:lnTo>
                  <a:pt x="2463" y="1533"/>
                </a:lnTo>
                <a:close/>
              </a:path>
            </a:pathLst>
          </a:custGeom>
          <a:solidFill>
            <a:srgbClr val="C8C2A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淘宝网chenying0907出品 35"/>
          <p:cNvSpPr/>
          <p:nvPr/>
        </p:nvSpPr>
        <p:spPr bwMode="auto">
          <a:xfrm>
            <a:off x="1135818" y="3171345"/>
            <a:ext cx="487363" cy="735013"/>
          </a:xfrm>
          <a:custGeom>
            <a:avLst/>
            <a:gdLst>
              <a:gd name="T0" fmla="*/ 0 w 307"/>
              <a:gd name="T1" fmla="*/ 463 h 463"/>
              <a:gd name="T2" fmla="*/ 154 w 307"/>
              <a:gd name="T3" fmla="*/ 0 h 463"/>
              <a:gd name="T4" fmla="*/ 307 w 307"/>
              <a:gd name="T5" fmla="*/ 463 h 463"/>
              <a:gd name="T6" fmla="*/ 0 w 307"/>
              <a:gd name="T7" fmla="*/ 463 h 463"/>
            </a:gdLst>
            <a:ahLst/>
            <a:cxnLst>
              <a:cxn ang="0">
                <a:pos x="T0" y="T1"/>
              </a:cxn>
              <a:cxn ang="0">
                <a:pos x="T2" y="T3"/>
              </a:cxn>
              <a:cxn ang="0">
                <a:pos x="T4" y="T5"/>
              </a:cxn>
              <a:cxn ang="0">
                <a:pos x="T6" y="T7"/>
              </a:cxn>
            </a:cxnLst>
            <a:rect l="0" t="0" r="r" b="b"/>
            <a:pathLst>
              <a:path w="307" h="463">
                <a:moveTo>
                  <a:pt x="0" y="463"/>
                </a:moveTo>
                <a:lnTo>
                  <a:pt x="154" y="0"/>
                </a:lnTo>
                <a:lnTo>
                  <a:pt x="307" y="463"/>
                </a:lnTo>
                <a:lnTo>
                  <a:pt x="0" y="463"/>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5" name="淘宝网chenying0907出品 36"/>
          <p:cNvSpPr/>
          <p:nvPr/>
        </p:nvSpPr>
        <p:spPr bwMode="auto">
          <a:xfrm>
            <a:off x="1623181" y="2439507"/>
            <a:ext cx="488950" cy="1466850"/>
          </a:xfrm>
          <a:custGeom>
            <a:avLst/>
            <a:gdLst>
              <a:gd name="T0" fmla="*/ 0 w 308"/>
              <a:gd name="T1" fmla="*/ 924 h 924"/>
              <a:gd name="T2" fmla="*/ 154 w 308"/>
              <a:gd name="T3" fmla="*/ 0 h 924"/>
              <a:gd name="T4" fmla="*/ 308 w 308"/>
              <a:gd name="T5" fmla="*/ 924 h 924"/>
              <a:gd name="T6" fmla="*/ 0 w 308"/>
              <a:gd name="T7" fmla="*/ 924 h 924"/>
            </a:gdLst>
            <a:ahLst/>
            <a:cxnLst>
              <a:cxn ang="0">
                <a:pos x="T0" y="T1"/>
              </a:cxn>
              <a:cxn ang="0">
                <a:pos x="T2" y="T3"/>
              </a:cxn>
              <a:cxn ang="0">
                <a:pos x="T4" y="T5"/>
              </a:cxn>
              <a:cxn ang="0">
                <a:pos x="T6" y="T7"/>
              </a:cxn>
            </a:cxnLst>
            <a:rect l="0" t="0" r="r" b="b"/>
            <a:pathLst>
              <a:path w="308" h="924">
                <a:moveTo>
                  <a:pt x="0" y="924"/>
                </a:moveTo>
                <a:lnTo>
                  <a:pt x="154" y="0"/>
                </a:lnTo>
                <a:lnTo>
                  <a:pt x="308" y="924"/>
                </a:lnTo>
                <a:lnTo>
                  <a:pt x="0" y="92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6" name="淘宝网chenying0907出品 37"/>
          <p:cNvSpPr/>
          <p:nvPr/>
        </p:nvSpPr>
        <p:spPr bwMode="auto">
          <a:xfrm>
            <a:off x="2112131" y="2926870"/>
            <a:ext cx="487363" cy="979488"/>
          </a:xfrm>
          <a:custGeom>
            <a:avLst/>
            <a:gdLst>
              <a:gd name="T0" fmla="*/ 0 w 307"/>
              <a:gd name="T1" fmla="*/ 617 h 617"/>
              <a:gd name="T2" fmla="*/ 153 w 307"/>
              <a:gd name="T3" fmla="*/ 0 h 617"/>
              <a:gd name="T4" fmla="*/ 307 w 307"/>
              <a:gd name="T5" fmla="*/ 617 h 617"/>
              <a:gd name="T6" fmla="*/ 0 w 307"/>
              <a:gd name="T7" fmla="*/ 617 h 617"/>
            </a:gdLst>
            <a:ahLst/>
            <a:cxnLst>
              <a:cxn ang="0">
                <a:pos x="T0" y="T1"/>
              </a:cxn>
              <a:cxn ang="0">
                <a:pos x="T2" y="T3"/>
              </a:cxn>
              <a:cxn ang="0">
                <a:pos x="T4" y="T5"/>
              </a:cxn>
              <a:cxn ang="0">
                <a:pos x="T6" y="T7"/>
              </a:cxn>
            </a:cxnLst>
            <a:rect l="0" t="0" r="r" b="b"/>
            <a:pathLst>
              <a:path w="307" h="617">
                <a:moveTo>
                  <a:pt x="0" y="617"/>
                </a:moveTo>
                <a:lnTo>
                  <a:pt x="153" y="0"/>
                </a:lnTo>
                <a:lnTo>
                  <a:pt x="307" y="617"/>
                </a:lnTo>
                <a:lnTo>
                  <a:pt x="0" y="617"/>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7" name="淘宝网chenying0907出品 38"/>
          <p:cNvSpPr/>
          <p:nvPr/>
        </p:nvSpPr>
        <p:spPr bwMode="auto">
          <a:xfrm>
            <a:off x="2602668" y="2439507"/>
            <a:ext cx="487363" cy="1466850"/>
          </a:xfrm>
          <a:custGeom>
            <a:avLst/>
            <a:gdLst>
              <a:gd name="T0" fmla="*/ 0 w 307"/>
              <a:gd name="T1" fmla="*/ 924 h 924"/>
              <a:gd name="T2" fmla="*/ 154 w 307"/>
              <a:gd name="T3" fmla="*/ 0 h 924"/>
              <a:gd name="T4" fmla="*/ 307 w 307"/>
              <a:gd name="T5" fmla="*/ 924 h 924"/>
              <a:gd name="T6" fmla="*/ 0 w 307"/>
              <a:gd name="T7" fmla="*/ 924 h 924"/>
            </a:gdLst>
            <a:ahLst/>
            <a:cxnLst>
              <a:cxn ang="0">
                <a:pos x="T0" y="T1"/>
              </a:cxn>
              <a:cxn ang="0">
                <a:pos x="T2" y="T3"/>
              </a:cxn>
              <a:cxn ang="0">
                <a:pos x="T4" y="T5"/>
              </a:cxn>
              <a:cxn ang="0">
                <a:pos x="T6" y="T7"/>
              </a:cxn>
            </a:cxnLst>
            <a:rect l="0" t="0" r="r" b="b"/>
            <a:pathLst>
              <a:path w="307" h="924">
                <a:moveTo>
                  <a:pt x="0" y="924"/>
                </a:moveTo>
                <a:lnTo>
                  <a:pt x="154" y="0"/>
                </a:lnTo>
                <a:lnTo>
                  <a:pt x="307" y="924"/>
                </a:lnTo>
                <a:lnTo>
                  <a:pt x="0" y="92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8" name="淘宝网chenying0907出品 39"/>
          <p:cNvSpPr/>
          <p:nvPr/>
        </p:nvSpPr>
        <p:spPr bwMode="auto">
          <a:xfrm>
            <a:off x="3090031" y="2439507"/>
            <a:ext cx="487363" cy="1466850"/>
          </a:xfrm>
          <a:custGeom>
            <a:avLst/>
            <a:gdLst>
              <a:gd name="T0" fmla="*/ 0 w 307"/>
              <a:gd name="T1" fmla="*/ 924 h 924"/>
              <a:gd name="T2" fmla="*/ 154 w 307"/>
              <a:gd name="T3" fmla="*/ 0 h 924"/>
              <a:gd name="T4" fmla="*/ 307 w 307"/>
              <a:gd name="T5" fmla="*/ 924 h 924"/>
              <a:gd name="T6" fmla="*/ 0 w 307"/>
              <a:gd name="T7" fmla="*/ 924 h 924"/>
            </a:gdLst>
            <a:ahLst/>
            <a:cxnLst>
              <a:cxn ang="0">
                <a:pos x="T0" y="T1"/>
              </a:cxn>
              <a:cxn ang="0">
                <a:pos x="T2" y="T3"/>
              </a:cxn>
              <a:cxn ang="0">
                <a:pos x="T4" y="T5"/>
              </a:cxn>
              <a:cxn ang="0">
                <a:pos x="T6" y="T7"/>
              </a:cxn>
            </a:cxnLst>
            <a:rect l="0" t="0" r="r" b="b"/>
            <a:pathLst>
              <a:path w="307" h="924">
                <a:moveTo>
                  <a:pt x="0" y="924"/>
                </a:moveTo>
                <a:lnTo>
                  <a:pt x="154" y="0"/>
                </a:lnTo>
                <a:lnTo>
                  <a:pt x="307" y="924"/>
                </a:lnTo>
                <a:lnTo>
                  <a:pt x="0" y="92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59" name="淘宝网chenying0907出品 40"/>
          <p:cNvSpPr/>
          <p:nvPr/>
        </p:nvSpPr>
        <p:spPr bwMode="auto">
          <a:xfrm>
            <a:off x="3574218" y="2661757"/>
            <a:ext cx="487363" cy="1244600"/>
          </a:xfrm>
          <a:custGeom>
            <a:avLst/>
            <a:gdLst>
              <a:gd name="T0" fmla="*/ 0 w 307"/>
              <a:gd name="T1" fmla="*/ 784 h 784"/>
              <a:gd name="T2" fmla="*/ 153 w 307"/>
              <a:gd name="T3" fmla="*/ 0 h 784"/>
              <a:gd name="T4" fmla="*/ 307 w 307"/>
              <a:gd name="T5" fmla="*/ 784 h 784"/>
              <a:gd name="T6" fmla="*/ 0 w 307"/>
              <a:gd name="T7" fmla="*/ 784 h 784"/>
            </a:gdLst>
            <a:ahLst/>
            <a:cxnLst>
              <a:cxn ang="0">
                <a:pos x="T0" y="T1"/>
              </a:cxn>
              <a:cxn ang="0">
                <a:pos x="T2" y="T3"/>
              </a:cxn>
              <a:cxn ang="0">
                <a:pos x="T4" y="T5"/>
              </a:cxn>
              <a:cxn ang="0">
                <a:pos x="T6" y="T7"/>
              </a:cxn>
            </a:cxnLst>
            <a:rect l="0" t="0" r="r" b="b"/>
            <a:pathLst>
              <a:path w="307" h="784">
                <a:moveTo>
                  <a:pt x="0" y="784"/>
                </a:moveTo>
                <a:lnTo>
                  <a:pt x="153" y="0"/>
                </a:lnTo>
                <a:lnTo>
                  <a:pt x="307" y="784"/>
                </a:lnTo>
                <a:lnTo>
                  <a:pt x="0" y="78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0" name="淘宝网chenying0907出品 41"/>
          <p:cNvSpPr/>
          <p:nvPr/>
        </p:nvSpPr>
        <p:spPr bwMode="auto">
          <a:xfrm>
            <a:off x="4061581" y="2131532"/>
            <a:ext cx="484188" cy="1774825"/>
          </a:xfrm>
          <a:custGeom>
            <a:avLst/>
            <a:gdLst>
              <a:gd name="T0" fmla="*/ 0 w 305"/>
              <a:gd name="T1" fmla="*/ 1118 h 1118"/>
              <a:gd name="T2" fmla="*/ 153 w 305"/>
              <a:gd name="T3" fmla="*/ 0 h 1118"/>
              <a:gd name="T4" fmla="*/ 305 w 305"/>
              <a:gd name="T5" fmla="*/ 1118 h 1118"/>
              <a:gd name="T6" fmla="*/ 0 w 305"/>
              <a:gd name="T7" fmla="*/ 1118 h 1118"/>
            </a:gdLst>
            <a:ahLst/>
            <a:cxnLst>
              <a:cxn ang="0">
                <a:pos x="T0" y="T1"/>
              </a:cxn>
              <a:cxn ang="0">
                <a:pos x="T2" y="T3"/>
              </a:cxn>
              <a:cxn ang="0">
                <a:pos x="T4" y="T5"/>
              </a:cxn>
              <a:cxn ang="0">
                <a:pos x="T6" y="T7"/>
              </a:cxn>
            </a:cxnLst>
            <a:rect l="0" t="0" r="r" b="b"/>
            <a:pathLst>
              <a:path w="305" h="1118">
                <a:moveTo>
                  <a:pt x="0" y="1118"/>
                </a:moveTo>
                <a:lnTo>
                  <a:pt x="153" y="0"/>
                </a:lnTo>
                <a:lnTo>
                  <a:pt x="305" y="1118"/>
                </a:lnTo>
                <a:lnTo>
                  <a:pt x="0" y="1118"/>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1" name="淘宝网chenying0907出品 42"/>
          <p:cNvSpPr/>
          <p:nvPr/>
        </p:nvSpPr>
        <p:spPr bwMode="auto">
          <a:xfrm>
            <a:off x="4545768" y="1937857"/>
            <a:ext cx="487363" cy="1968500"/>
          </a:xfrm>
          <a:custGeom>
            <a:avLst/>
            <a:gdLst>
              <a:gd name="T0" fmla="*/ 0 w 307"/>
              <a:gd name="T1" fmla="*/ 1240 h 1240"/>
              <a:gd name="T2" fmla="*/ 153 w 307"/>
              <a:gd name="T3" fmla="*/ 0 h 1240"/>
              <a:gd name="T4" fmla="*/ 307 w 307"/>
              <a:gd name="T5" fmla="*/ 1240 h 1240"/>
              <a:gd name="T6" fmla="*/ 0 w 307"/>
              <a:gd name="T7" fmla="*/ 1240 h 1240"/>
            </a:gdLst>
            <a:ahLst/>
            <a:cxnLst>
              <a:cxn ang="0">
                <a:pos x="T0" y="T1"/>
              </a:cxn>
              <a:cxn ang="0">
                <a:pos x="T2" y="T3"/>
              </a:cxn>
              <a:cxn ang="0">
                <a:pos x="T4" y="T5"/>
              </a:cxn>
              <a:cxn ang="0">
                <a:pos x="T6" y="T7"/>
              </a:cxn>
            </a:cxnLst>
            <a:rect l="0" t="0" r="r" b="b"/>
            <a:pathLst>
              <a:path w="307" h="1240">
                <a:moveTo>
                  <a:pt x="0" y="1240"/>
                </a:moveTo>
                <a:lnTo>
                  <a:pt x="153" y="0"/>
                </a:lnTo>
                <a:lnTo>
                  <a:pt x="307" y="1240"/>
                </a:lnTo>
                <a:lnTo>
                  <a:pt x="0" y="124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2" name="淘宝网chenying0907出品 43"/>
          <p:cNvSpPr/>
          <p:nvPr/>
        </p:nvSpPr>
        <p:spPr bwMode="auto">
          <a:xfrm>
            <a:off x="5033131" y="2683982"/>
            <a:ext cx="487363" cy="1222375"/>
          </a:xfrm>
          <a:custGeom>
            <a:avLst/>
            <a:gdLst>
              <a:gd name="T0" fmla="*/ 0 w 307"/>
              <a:gd name="T1" fmla="*/ 770 h 770"/>
              <a:gd name="T2" fmla="*/ 153 w 307"/>
              <a:gd name="T3" fmla="*/ 0 h 770"/>
              <a:gd name="T4" fmla="*/ 307 w 307"/>
              <a:gd name="T5" fmla="*/ 770 h 770"/>
              <a:gd name="T6" fmla="*/ 0 w 307"/>
              <a:gd name="T7" fmla="*/ 770 h 770"/>
            </a:gdLst>
            <a:ahLst/>
            <a:cxnLst>
              <a:cxn ang="0">
                <a:pos x="T0" y="T1"/>
              </a:cxn>
              <a:cxn ang="0">
                <a:pos x="T2" y="T3"/>
              </a:cxn>
              <a:cxn ang="0">
                <a:pos x="T4" y="T5"/>
              </a:cxn>
              <a:cxn ang="0">
                <a:pos x="T6" y="T7"/>
              </a:cxn>
            </a:cxnLst>
            <a:rect l="0" t="0" r="r" b="b"/>
            <a:pathLst>
              <a:path w="307" h="770">
                <a:moveTo>
                  <a:pt x="0" y="770"/>
                </a:moveTo>
                <a:lnTo>
                  <a:pt x="153" y="0"/>
                </a:lnTo>
                <a:lnTo>
                  <a:pt x="307" y="770"/>
                </a:lnTo>
                <a:lnTo>
                  <a:pt x="0" y="77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63" name="淘宝网chenying0907出品 44"/>
          <p:cNvSpPr/>
          <p:nvPr/>
        </p:nvSpPr>
        <p:spPr bwMode="auto">
          <a:xfrm>
            <a:off x="1135818" y="3669820"/>
            <a:ext cx="487363" cy="236538"/>
          </a:xfrm>
          <a:custGeom>
            <a:avLst/>
            <a:gdLst>
              <a:gd name="T0" fmla="*/ 0 w 307"/>
              <a:gd name="T1" fmla="*/ 149 h 149"/>
              <a:gd name="T2" fmla="*/ 154 w 307"/>
              <a:gd name="T3" fmla="*/ 0 h 149"/>
              <a:gd name="T4" fmla="*/ 307 w 307"/>
              <a:gd name="T5" fmla="*/ 149 h 149"/>
              <a:gd name="T6" fmla="*/ 0 w 307"/>
              <a:gd name="T7" fmla="*/ 149 h 149"/>
            </a:gdLst>
            <a:ahLst/>
            <a:cxnLst>
              <a:cxn ang="0">
                <a:pos x="T0" y="T1"/>
              </a:cxn>
              <a:cxn ang="0">
                <a:pos x="T2" y="T3"/>
              </a:cxn>
              <a:cxn ang="0">
                <a:pos x="T4" y="T5"/>
              </a:cxn>
              <a:cxn ang="0">
                <a:pos x="T6" y="T7"/>
              </a:cxn>
            </a:cxnLst>
            <a:rect l="0" t="0" r="r" b="b"/>
            <a:pathLst>
              <a:path w="307" h="149">
                <a:moveTo>
                  <a:pt x="0" y="149"/>
                </a:moveTo>
                <a:lnTo>
                  <a:pt x="154" y="0"/>
                </a:lnTo>
                <a:lnTo>
                  <a:pt x="307" y="149"/>
                </a:lnTo>
                <a:lnTo>
                  <a:pt x="0" y="149"/>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4" name="淘宝网chenying0907出品 45"/>
          <p:cNvSpPr/>
          <p:nvPr/>
        </p:nvSpPr>
        <p:spPr bwMode="auto">
          <a:xfrm>
            <a:off x="1623181" y="3396770"/>
            <a:ext cx="488950" cy="509588"/>
          </a:xfrm>
          <a:custGeom>
            <a:avLst/>
            <a:gdLst>
              <a:gd name="T0" fmla="*/ 0 w 308"/>
              <a:gd name="T1" fmla="*/ 321 h 321"/>
              <a:gd name="T2" fmla="*/ 154 w 308"/>
              <a:gd name="T3" fmla="*/ 0 h 321"/>
              <a:gd name="T4" fmla="*/ 308 w 308"/>
              <a:gd name="T5" fmla="*/ 321 h 321"/>
              <a:gd name="T6" fmla="*/ 0 w 308"/>
              <a:gd name="T7" fmla="*/ 321 h 321"/>
            </a:gdLst>
            <a:ahLst/>
            <a:cxnLst>
              <a:cxn ang="0">
                <a:pos x="T0" y="T1"/>
              </a:cxn>
              <a:cxn ang="0">
                <a:pos x="T2" y="T3"/>
              </a:cxn>
              <a:cxn ang="0">
                <a:pos x="T4" y="T5"/>
              </a:cxn>
              <a:cxn ang="0">
                <a:pos x="T6" y="T7"/>
              </a:cxn>
            </a:cxnLst>
            <a:rect l="0" t="0" r="r" b="b"/>
            <a:pathLst>
              <a:path w="308" h="321">
                <a:moveTo>
                  <a:pt x="0" y="321"/>
                </a:moveTo>
                <a:lnTo>
                  <a:pt x="154" y="0"/>
                </a:lnTo>
                <a:lnTo>
                  <a:pt x="308" y="321"/>
                </a:lnTo>
                <a:lnTo>
                  <a:pt x="0" y="321"/>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5" name="淘宝网chenying0907出品 46"/>
          <p:cNvSpPr/>
          <p:nvPr/>
        </p:nvSpPr>
        <p:spPr bwMode="auto">
          <a:xfrm>
            <a:off x="2112131" y="3790470"/>
            <a:ext cx="487363" cy="115888"/>
          </a:xfrm>
          <a:custGeom>
            <a:avLst/>
            <a:gdLst>
              <a:gd name="T0" fmla="*/ 0 w 307"/>
              <a:gd name="T1" fmla="*/ 73 h 73"/>
              <a:gd name="T2" fmla="*/ 153 w 307"/>
              <a:gd name="T3" fmla="*/ 0 h 73"/>
              <a:gd name="T4" fmla="*/ 307 w 307"/>
              <a:gd name="T5" fmla="*/ 73 h 73"/>
              <a:gd name="T6" fmla="*/ 0 w 307"/>
              <a:gd name="T7" fmla="*/ 73 h 73"/>
            </a:gdLst>
            <a:ahLst/>
            <a:cxnLst>
              <a:cxn ang="0">
                <a:pos x="T0" y="T1"/>
              </a:cxn>
              <a:cxn ang="0">
                <a:pos x="T2" y="T3"/>
              </a:cxn>
              <a:cxn ang="0">
                <a:pos x="T4" y="T5"/>
              </a:cxn>
              <a:cxn ang="0">
                <a:pos x="T6" y="T7"/>
              </a:cxn>
            </a:cxnLst>
            <a:rect l="0" t="0" r="r" b="b"/>
            <a:pathLst>
              <a:path w="307" h="73">
                <a:moveTo>
                  <a:pt x="0" y="73"/>
                </a:moveTo>
                <a:lnTo>
                  <a:pt x="153" y="0"/>
                </a:lnTo>
                <a:lnTo>
                  <a:pt x="307" y="73"/>
                </a:lnTo>
                <a:lnTo>
                  <a:pt x="0" y="73"/>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6" name="淘宝网chenying0907出品 47"/>
          <p:cNvSpPr/>
          <p:nvPr/>
        </p:nvSpPr>
        <p:spPr bwMode="auto">
          <a:xfrm>
            <a:off x="2602668" y="3245957"/>
            <a:ext cx="487363" cy="660400"/>
          </a:xfrm>
          <a:custGeom>
            <a:avLst/>
            <a:gdLst>
              <a:gd name="T0" fmla="*/ 0 w 307"/>
              <a:gd name="T1" fmla="*/ 416 h 416"/>
              <a:gd name="T2" fmla="*/ 154 w 307"/>
              <a:gd name="T3" fmla="*/ 0 h 416"/>
              <a:gd name="T4" fmla="*/ 307 w 307"/>
              <a:gd name="T5" fmla="*/ 416 h 416"/>
              <a:gd name="T6" fmla="*/ 0 w 307"/>
              <a:gd name="T7" fmla="*/ 416 h 416"/>
            </a:gdLst>
            <a:ahLst/>
            <a:cxnLst>
              <a:cxn ang="0">
                <a:pos x="T0" y="T1"/>
              </a:cxn>
              <a:cxn ang="0">
                <a:pos x="T2" y="T3"/>
              </a:cxn>
              <a:cxn ang="0">
                <a:pos x="T4" y="T5"/>
              </a:cxn>
              <a:cxn ang="0">
                <a:pos x="T6" y="T7"/>
              </a:cxn>
            </a:cxnLst>
            <a:rect l="0" t="0" r="r" b="b"/>
            <a:pathLst>
              <a:path w="307" h="416">
                <a:moveTo>
                  <a:pt x="0" y="416"/>
                </a:moveTo>
                <a:lnTo>
                  <a:pt x="154" y="0"/>
                </a:lnTo>
                <a:lnTo>
                  <a:pt x="307" y="416"/>
                </a:lnTo>
                <a:lnTo>
                  <a:pt x="0" y="416"/>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7" name="淘宝网chenying0907出品 48"/>
          <p:cNvSpPr/>
          <p:nvPr/>
        </p:nvSpPr>
        <p:spPr bwMode="auto">
          <a:xfrm>
            <a:off x="3090031" y="3650770"/>
            <a:ext cx="487363" cy="255588"/>
          </a:xfrm>
          <a:custGeom>
            <a:avLst/>
            <a:gdLst>
              <a:gd name="T0" fmla="*/ 0 w 307"/>
              <a:gd name="T1" fmla="*/ 161 h 161"/>
              <a:gd name="T2" fmla="*/ 154 w 307"/>
              <a:gd name="T3" fmla="*/ 0 h 161"/>
              <a:gd name="T4" fmla="*/ 307 w 307"/>
              <a:gd name="T5" fmla="*/ 161 h 161"/>
              <a:gd name="T6" fmla="*/ 0 w 307"/>
              <a:gd name="T7" fmla="*/ 161 h 161"/>
            </a:gdLst>
            <a:ahLst/>
            <a:cxnLst>
              <a:cxn ang="0">
                <a:pos x="T0" y="T1"/>
              </a:cxn>
              <a:cxn ang="0">
                <a:pos x="T2" y="T3"/>
              </a:cxn>
              <a:cxn ang="0">
                <a:pos x="T4" y="T5"/>
              </a:cxn>
              <a:cxn ang="0">
                <a:pos x="T6" y="T7"/>
              </a:cxn>
            </a:cxnLst>
            <a:rect l="0" t="0" r="r" b="b"/>
            <a:pathLst>
              <a:path w="307" h="161">
                <a:moveTo>
                  <a:pt x="0" y="161"/>
                </a:moveTo>
                <a:lnTo>
                  <a:pt x="154" y="0"/>
                </a:lnTo>
                <a:lnTo>
                  <a:pt x="307" y="161"/>
                </a:lnTo>
                <a:lnTo>
                  <a:pt x="0" y="161"/>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8" name="淘宝网chenying0907出品 49"/>
          <p:cNvSpPr/>
          <p:nvPr/>
        </p:nvSpPr>
        <p:spPr bwMode="auto">
          <a:xfrm>
            <a:off x="3574218" y="3396770"/>
            <a:ext cx="487363" cy="509588"/>
          </a:xfrm>
          <a:custGeom>
            <a:avLst/>
            <a:gdLst>
              <a:gd name="T0" fmla="*/ 0 w 307"/>
              <a:gd name="T1" fmla="*/ 321 h 321"/>
              <a:gd name="T2" fmla="*/ 153 w 307"/>
              <a:gd name="T3" fmla="*/ 0 h 321"/>
              <a:gd name="T4" fmla="*/ 307 w 307"/>
              <a:gd name="T5" fmla="*/ 321 h 321"/>
              <a:gd name="T6" fmla="*/ 0 w 307"/>
              <a:gd name="T7" fmla="*/ 321 h 321"/>
            </a:gdLst>
            <a:ahLst/>
            <a:cxnLst>
              <a:cxn ang="0">
                <a:pos x="T0" y="T1"/>
              </a:cxn>
              <a:cxn ang="0">
                <a:pos x="T2" y="T3"/>
              </a:cxn>
              <a:cxn ang="0">
                <a:pos x="T4" y="T5"/>
              </a:cxn>
              <a:cxn ang="0">
                <a:pos x="T6" y="T7"/>
              </a:cxn>
            </a:cxnLst>
            <a:rect l="0" t="0" r="r" b="b"/>
            <a:pathLst>
              <a:path w="307" h="321">
                <a:moveTo>
                  <a:pt x="0" y="321"/>
                </a:moveTo>
                <a:lnTo>
                  <a:pt x="153" y="0"/>
                </a:lnTo>
                <a:lnTo>
                  <a:pt x="307" y="321"/>
                </a:lnTo>
                <a:lnTo>
                  <a:pt x="0" y="321"/>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69" name="淘宝网chenying0907出品 50"/>
          <p:cNvSpPr/>
          <p:nvPr/>
        </p:nvSpPr>
        <p:spPr bwMode="auto">
          <a:xfrm>
            <a:off x="4061581" y="3538057"/>
            <a:ext cx="484188" cy="368300"/>
          </a:xfrm>
          <a:custGeom>
            <a:avLst/>
            <a:gdLst>
              <a:gd name="T0" fmla="*/ 0 w 305"/>
              <a:gd name="T1" fmla="*/ 232 h 232"/>
              <a:gd name="T2" fmla="*/ 153 w 305"/>
              <a:gd name="T3" fmla="*/ 0 h 232"/>
              <a:gd name="T4" fmla="*/ 305 w 305"/>
              <a:gd name="T5" fmla="*/ 232 h 232"/>
              <a:gd name="T6" fmla="*/ 0 w 305"/>
              <a:gd name="T7" fmla="*/ 232 h 232"/>
            </a:gdLst>
            <a:ahLst/>
            <a:cxnLst>
              <a:cxn ang="0">
                <a:pos x="T0" y="T1"/>
              </a:cxn>
              <a:cxn ang="0">
                <a:pos x="T2" y="T3"/>
              </a:cxn>
              <a:cxn ang="0">
                <a:pos x="T4" y="T5"/>
              </a:cxn>
              <a:cxn ang="0">
                <a:pos x="T6" y="T7"/>
              </a:cxn>
            </a:cxnLst>
            <a:rect l="0" t="0" r="r" b="b"/>
            <a:pathLst>
              <a:path w="305" h="232">
                <a:moveTo>
                  <a:pt x="0" y="232"/>
                </a:moveTo>
                <a:lnTo>
                  <a:pt x="153" y="0"/>
                </a:lnTo>
                <a:lnTo>
                  <a:pt x="305" y="232"/>
                </a:lnTo>
                <a:lnTo>
                  <a:pt x="0" y="232"/>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70" name="淘宝网chenying0907出品 51"/>
          <p:cNvSpPr/>
          <p:nvPr/>
        </p:nvSpPr>
        <p:spPr bwMode="auto">
          <a:xfrm>
            <a:off x="4545768" y="3418995"/>
            <a:ext cx="487363" cy="487363"/>
          </a:xfrm>
          <a:custGeom>
            <a:avLst/>
            <a:gdLst>
              <a:gd name="T0" fmla="*/ 0 w 307"/>
              <a:gd name="T1" fmla="*/ 307 h 307"/>
              <a:gd name="T2" fmla="*/ 153 w 307"/>
              <a:gd name="T3" fmla="*/ 0 h 307"/>
              <a:gd name="T4" fmla="*/ 307 w 307"/>
              <a:gd name="T5" fmla="*/ 307 h 307"/>
              <a:gd name="T6" fmla="*/ 0 w 307"/>
              <a:gd name="T7" fmla="*/ 307 h 307"/>
            </a:gdLst>
            <a:ahLst/>
            <a:cxnLst>
              <a:cxn ang="0">
                <a:pos x="T0" y="T1"/>
              </a:cxn>
              <a:cxn ang="0">
                <a:pos x="T2" y="T3"/>
              </a:cxn>
              <a:cxn ang="0">
                <a:pos x="T4" y="T5"/>
              </a:cxn>
              <a:cxn ang="0">
                <a:pos x="T6" y="T7"/>
              </a:cxn>
            </a:cxnLst>
            <a:rect l="0" t="0" r="r" b="b"/>
            <a:pathLst>
              <a:path w="307" h="307">
                <a:moveTo>
                  <a:pt x="0" y="307"/>
                </a:moveTo>
                <a:lnTo>
                  <a:pt x="153" y="0"/>
                </a:lnTo>
                <a:lnTo>
                  <a:pt x="307" y="307"/>
                </a:lnTo>
                <a:lnTo>
                  <a:pt x="0" y="307"/>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71" name="淘宝网chenying0907出品 52"/>
          <p:cNvSpPr/>
          <p:nvPr/>
        </p:nvSpPr>
        <p:spPr bwMode="auto">
          <a:xfrm>
            <a:off x="5033131" y="3050695"/>
            <a:ext cx="487363" cy="855663"/>
          </a:xfrm>
          <a:custGeom>
            <a:avLst/>
            <a:gdLst>
              <a:gd name="T0" fmla="*/ 0 w 307"/>
              <a:gd name="T1" fmla="*/ 539 h 539"/>
              <a:gd name="T2" fmla="*/ 153 w 307"/>
              <a:gd name="T3" fmla="*/ 0 h 539"/>
              <a:gd name="T4" fmla="*/ 307 w 307"/>
              <a:gd name="T5" fmla="*/ 539 h 539"/>
              <a:gd name="T6" fmla="*/ 0 w 307"/>
              <a:gd name="T7" fmla="*/ 539 h 539"/>
            </a:gdLst>
            <a:ahLst/>
            <a:cxnLst>
              <a:cxn ang="0">
                <a:pos x="T0" y="T1"/>
              </a:cxn>
              <a:cxn ang="0">
                <a:pos x="T2" y="T3"/>
              </a:cxn>
              <a:cxn ang="0">
                <a:pos x="T4" y="T5"/>
              </a:cxn>
              <a:cxn ang="0">
                <a:pos x="T6" y="T7"/>
              </a:cxn>
            </a:cxnLst>
            <a:rect l="0" t="0" r="r" b="b"/>
            <a:pathLst>
              <a:path w="307" h="539">
                <a:moveTo>
                  <a:pt x="0" y="539"/>
                </a:moveTo>
                <a:lnTo>
                  <a:pt x="153" y="0"/>
                </a:lnTo>
                <a:lnTo>
                  <a:pt x="307" y="539"/>
                </a:lnTo>
                <a:lnTo>
                  <a:pt x="0" y="539"/>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72" name="TextBox 83"/>
          <p:cNvSpPr txBox="1"/>
          <p:nvPr/>
        </p:nvSpPr>
        <p:spPr>
          <a:xfrm>
            <a:off x="901450" y="3735534"/>
            <a:ext cx="271228"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0</a:t>
            </a:r>
            <a:endParaRPr lang="zh-CN" altLang="en-US" sz="1000" b="1">
              <a:latin typeface="Charlemagne Std" pitchFamily="82" charset="0"/>
              <a:ea typeface="微软雅黑" panose="020B0503020204020204" pitchFamily="34" charset="-122"/>
            </a:endParaRPr>
          </a:p>
        </p:txBody>
      </p:sp>
      <p:sp>
        <p:nvSpPr>
          <p:cNvPr id="73" name="TextBox 84"/>
          <p:cNvSpPr txBox="1"/>
          <p:nvPr/>
        </p:nvSpPr>
        <p:spPr>
          <a:xfrm>
            <a:off x="827712" y="3262364"/>
            <a:ext cx="34496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20</a:t>
            </a:r>
            <a:endParaRPr lang="zh-CN" altLang="en-US" sz="1000" b="1">
              <a:latin typeface="Charlemagne Std" pitchFamily="82" charset="0"/>
              <a:ea typeface="微软雅黑" panose="020B0503020204020204" pitchFamily="34" charset="-122"/>
            </a:endParaRPr>
          </a:p>
        </p:txBody>
      </p:sp>
      <p:sp>
        <p:nvSpPr>
          <p:cNvPr id="74" name="TextBox 85"/>
          <p:cNvSpPr txBox="1"/>
          <p:nvPr/>
        </p:nvSpPr>
        <p:spPr>
          <a:xfrm>
            <a:off x="819696" y="2789193"/>
            <a:ext cx="352982"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40</a:t>
            </a:r>
            <a:endParaRPr lang="zh-CN" altLang="en-US" sz="1000" b="1">
              <a:latin typeface="Charlemagne Std" pitchFamily="82" charset="0"/>
              <a:ea typeface="微软雅黑" panose="020B0503020204020204" pitchFamily="34" charset="-122"/>
            </a:endParaRPr>
          </a:p>
        </p:txBody>
      </p:sp>
      <p:sp>
        <p:nvSpPr>
          <p:cNvPr id="75" name="TextBox 86"/>
          <p:cNvSpPr txBox="1"/>
          <p:nvPr/>
        </p:nvSpPr>
        <p:spPr>
          <a:xfrm>
            <a:off x="821300" y="2316022"/>
            <a:ext cx="351378"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60</a:t>
            </a:r>
            <a:endParaRPr lang="zh-CN" altLang="en-US" sz="1000" b="1">
              <a:latin typeface="Charlemagne Std" pitchFamily="82" charset="0"/>
              <a:ea typeface="微软雅黑" panose="020B0503020204020204" pitchFamily="34" charset="-122"/>
            </a:endParaRPr>
          </a:p>
        </p:txBody>
      </p:sp>
      <p:sp>
        <p:nvSpPr>
          <p:cNvPr id="76" name="TextBox 87"/>
          <p:cNvSpPr txBox="1"/>
          <p:nvPr/>
        </p:nvSpPr>
        <p:spPr>
          <a:xfrm>
            <a:off x="822902" y="1842851"/>
            <a:ext cx="34977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80</a:t>
            </a:r>
            <a:endParaRPr lang="zh-CN" altLang="en-US" sz="1000" b="1">
              <a:latin typeface="Charlemagne Std" pitchFamily="82" charset="0"/>
              <a:ea typeface="微软雅黑" panose="020B0503020204020204" pitchFamily="34" charset="-122"/>
            </a:endParaRPr>
          </a:p>
        </p:txBody>
      </p:sp>
      <p:sp>
        <p:nvSpPr>
          <p:cNvPr id="77" name="TextBox 88"/>
          <p:cNvSpPr txBox="1"/>
          <p:nvPr/>
        </p:nvSpPr>
        <p:spPr>
          <a:xfrm>
            <a:off x="755576" y="1369680"/>
            <a:ext cx="417102"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100</a:t>
            </a:r>
            <a:endParaRPr lang="zh-CN" altLang="en-US" sz="1000" b="1">
              <a:latin typeface="Charlemagne Std" pitchFamily="82" charset="0"/>
              <a:ea typeface="微软雅黑" panose="020B0503020204020204" pitchFamily="34" charset="-122"/>
            </a:endParaRPr>
          </a:p>
        </p:txBody>
      </p:sp>
      <p:sp>
        <p:nvSpPr>
          <p:cNvPr id="78" name="TextBox 89"/>
          <p:cNvSpPr txBox="1"/>
          <p:nvPr/>
        </p:nvSpPr>
        <p:spPr>
          <a:xfrm>
            <a:off x="1257510" y="3909705"/>
            <a:ext cx="243978"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1</a:t>
            </a:r>
            <a:endParaRPr lang="zh-CN" altLang="en-US" sz="1000" b="1">
              <a:latin typeface="Charlemagne Std" pitchFamily="82" charset="0"/>
              <a:ea typeface="微软雅黑" panose="020B0503020204020204" pitchFamily="34" charset="-122"/>
            </a:endParaRPr>
          </a:p>
        </p:txBody>
      </p:sp>
      <p:sp>
        <p:nvSpPr>
          <p:cNvPr id="79" name="TextBox 90"/>
          <p:cNvSpPr txBox="1"/>
          <p:nvPr/>
        </p:nvSpPr>
        <p:spPr>
          <a:xfrm>
            <a:off x="1738454"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2</a:t>
            </a:r>
            <a:endParaRPr lang="zh-CN" altLang="en-US" sz="1000" b="1">
              <a:latin typeface="Charlemagne Std" pitchFamily="82" charset="0"/>
              <a:ea typeface="微软雅黑" panose="020B0503020204020204" pitchFamily="34" charset="-122"/>
            </a:endParaRPr>
          </a:p>
        </p:txBody>
      </p:sp>
      <p:sp>
        <p:nvSpPr>
          <p:cNvPr id="80" name="TextBox 91"/>
          <p:cNvSpPr txBox="1"/>
          <p:nvPr/>
        </p:nvSpPr>
        <p:spPr>
          <a:xfrm>
            <a:off x="2226610"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3</a:t>
            </a:r>
            <a:endParaRPr lang="zh-CN" altLang="en-US" sz="1000" b="1">
              <a:latin typeface="Charlemagne Std" pitchFamily="82" charset="0"/>
              <a:ea typeface="微软雅黑" panose="020B0503020204020204" pitchFamily="34" charset="-122"/>
            </a:endParaRPr>
          </a:p>
        </p:txBody>
      </p:sp>
      <p:sp>
        <p:nvSpPr>
          <p:cNvPr id="81" name="TextBox 92"/>
          <p:cNvSpPr txBox="1"/>
          <p:nvPr/>
        </p:nvSpPr>
        <p:spPr>
          <a:xfrm>
            <a:off x="2713139" y="3909705"/>
            <a:ext cx="266420"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4</a:t>
            </a:r>
            <a:endParaRPr lang="zh-CN" altLang="en-US" sz="1000" b="1">
              <a:latin typeface="Charlemagne Std" pitchFamily="82" charset="0"/>
              <a:ea typeface="微软雅黑" panose="020B0503020204020204" pitchFamily="34" charset="-122"/>
            </a:endParaRPr>
          </a:p>
        </p:txBody>
      </p:sp>
      <p:sp>
        <p:nvSpPr>
          <p:cNvPr id="82" name="TextBox 93"/>
          <p:cNvSpPr txBox="1"/>
          <p:nvPr/>
        </p:nvSpPr>
        <p:spPr>
          <a:xfrm>
            <a:off x="3199747"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5</a:t>
            </a:r>
            <a:endParaRPr lang="zh-CN" altLang="en-US" sz="1000" b="1">
              <a:latin typeface="Charlemagne Std" pitchFamily="82" charset="0"/>
              <a:ea typeface="微软雅黑" panose="020B0503020204020204" pitchFamily="34" charset="-122"/>
            </a:endParaRPr>
          </a:p>
        </p:txBody>
      </p:sp>
      <p:sp>
        <p:nvSpPr>
          <p:cNvPr id="83" name="TextBox 94"/>
          <p:cNvSpPr txBox="1"/>
          <p:nvPr/>
        </p:nvSpPr>
        <p:spPr>
          <a:xfrm>
            <a:off x="3685491" y="3909705"/>
            <a:ext cx="26481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6</a:t>
            </a:r>
            <a:endParaRPr lang="zh-CN" altLang="en-US" sz="1000" b="1">
              <a:latin typeface="Charlemagne Std" pitchFamily="82" charset="0"/>
              <a:ea typeface="微软雅黑" panose="020B0503020204020204" pitchFamily="34" charset="-122"/>
            </a:endParaRPr>
          </a:p>
        </p:txBody>
      </p:sp>
      <p:sp>
        <p:nvSpPr>
          <p:cNvPr id="84" name="TextBox 95"/>
          <p:cNvSpPr txBox="1"/>
          <p:nvPr/>
        </p:nvSpPr>
        <p:spPr>
          <a:xfrm>
            <a:off x="4176877" y="3909705"/>
            <a:ext cx="25359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7</a:t>
            </a:r>
            <a:endParaRPr lang="zh-CN" altLang="en-US" sz="1000" b="1">
              <a:latin typeface="Charlemagne Std" pitchFamily="82" charset="0"/>
              <a:ea typeface="微软雅黑" panose="020B0503020204020204" pitchFamily="34" charset="-122"/>
            </a:endParaRPr>
          </a:p>
        </p:txBody>
      </p:sp>
      <p:sp>
        <p:nvSpPr>
          <p:cNvPr id="85" name="TextBox 96"/>
          <p:cNvSpPr txBox="1"/>
          <p:nvPr/>
        </p:nvSpPr>
        <p:spPr>
          <a:xfrm>
            <a:off x="4657842" y="3909705"/>
            <a:ext cx="263214"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8</a:t>
            </a:r>
            <a:endParaRPr lang="zh-CN" altLang="en-US" sz="1000" b="1">
              <a:latin typeface="Charlemagne Std" pitchFamily="82" charset="0"/>
              <a:ea typeface="微软雅黑" panose="020B0503020204020204" pitchFamily="34" charset="-122"/>
            </a:endParaRPr>
          </a:p>
        </p:txBody>
      </p:sp>
      <p:sp>
        <p:nvSpPr>
          <p:cNvPr id="86" name="TextBox 97"/>
          <p:cNvSpPr txBox="1"/>
          <p:nvPr/>
        </p:nvSpPr>
        <p:spPr>
          <a:xfrm>
            <a:off x="5144404" y="3909705"/>
            <a:ext cx="264816" cy="246221"/>
          </a:xfrm>
          <a:prstGeom prst="rect">
            <a:avLst/>
          </a:prstGeom>
          <a:noFill/>
        </p:spPr>
        <p:txBody>
          <a:bodyPr wrap="none" rtlCol="0">
            <a:spAutoFit/>
          </a:bodyPr>
          <a:lstStyle/>
          <a:p>
            <a:pPr algn="ctr"/>
            <a:r>
              <a:rPr lang="en-US" altLang="zh-CN" sz="1000" b="1">
                <a:latin typeface="Charlemagne Std" pitchFamily="82" charset="0"/>
                <a:ea typeface="微软雅黑" panose="020B0503020204020204" pitchFamily="34" charset="-122"/>
              </a:rPr>
              <a:t>9</a:t>
            </a:r>
            <a:endParaRPr lang="zh-CN" altLang="en-US" sz="1000" b="1">
              <a:latin typeface="Charlemagne Std" pitchFamily="82" charset="0"/>
              <a:ea typeface="微软雅黑" panose="020B0503020204020204" pitchFamily="34" charset="-122"/>
            </a:endParaRPr>
          </a:p>
        </p:txBody>
      </p:sp>
      <p:sp>
        <p:nvSpPr>
          <p:cNvPr id="87" name="淘宝网chenying0907出品 1"/>
          <p:cNvSpPr>
            <a:spLocks noChangeArrowheads="1"/>
          </p:cNvSpPr>
          <p:nvPr/>
        </p:nvSpPr>
        <p:spPr bwMode="auto">
          <a:xfrm>
            <a:off x="5816463" y="1488653"/>
            <a:ext cx="2585573" cy="237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lnSpc>
                <a:spcPts val="2000"/>
              </a:lnSpc>
            </a:pPr>
            <a:r>
              <a:rPr lang="zh-CN" altLang="en-US" sz="14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属性（时间性、数量性等），对知识挖掘和信息直观生动感受起关键作用的图形结构，是一种很好的将对象属性数据直观、形象地“可视化”的手段。</a:t>
            </a:r>
          </a:p>
        </p:txBody>
      </p:sp>
      <p:sp>
        <p:nvSpPr>
          <p:cNvPr id="97"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98" name="矩形 97"/>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6007">
        <p15:prstTrans prst="pageCurlDouble"/>
      </p:transition>
    </mc:Choice>
    <mc:Fallback xmlns="">
      <p:transition spd="slow" advClick="0" advTm="6007">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2" presetClass="entr" presetSubtype="4" fill="hold" grpId="0" nodeType="afterEffect" p14:presetBounceEnd="60000">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14:bounceEnd="60000">
                                          <p:cBhvr additive="base">
                                            <p:cTn id="11" dur="100" fill="hold"/>
                                            <p:tgtEl>
                                              <p:spTgt spid="72"/>
                                            </p:tgtEl>
                                            <p:attrNameLst>
                                              <p:attrName>ppt_x</p:attrName>
                                            </p:attrNameLst>
                                          </p:cBhvr>
                                          <p:tavLst>
                                            <p:tav tm="0">
                                              <p:val>
                                                <p:strVal val="#ppt_x"/>
                                              </p:val>
                                            </p:tav>
                                            <p:tav tm="100000">
                                              <p:val>
                                                <p:strVal val="#ppt_x"/>
                                              </p:val>
                                            </p:tav>
                                          </p:tavLst>
                                        </p:anim>
                                        <p:anim calcmode="lin" valueType="num" p14:bounceEnd="60000">
                                          <p:cBhvr additive="base">
                                            <p:cTn id="12" dur="100" fill="hold"/>
                                            <p:tgtEl>
                                              <p:spTgt spid="72"/>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grpId="0" nodeType="afterEffect" p14:presetBounceEnd="60000">
                                      <p:stCondLst>
                                        <p:cond delay="0"/>
                                      </p:stCondLst>
                                      <p:childTnLst>
                                        <p:set>
                                          <p:cBhvr>
                                            <p:cTn id="15" dur="1" fill="hold">
                                              <p:stCondLst>
                                                <p:cond delay="0"/>
                                              </p:stCondLst>
                                            </p:cTn>
                                            <p:tgtEl>
                                              <p:spTgt spid="73"/>
                                            </p:tgtEl>
                                            <p:attrNameLst>
                                              <p:attrName>style.visibility</p:attrName>
                                            </p:attrNameLst>
                                          </p:cBhvr>
                                          <p:to>
                                            <p:strVal val="visible"/>
                                          </p:to>
                                        </p:set>
                                        <p:anim calcmode="lin" valueType="num" p14:bounceEnd="60000">
                                          <p:cBhvr additive="base">
                                            <p:cTn id="16" dur="100" fill="hold"/>
                                            <p:tgtEl>
                                              <p:spTgt spid="73"/>
                                            </p:tgtEl>
                                            <p:attrNameLst>
                                              <p:attrName>ppt_x</p:attrName>
                                            </p:attrNameLst>
                                          </p:cBhvr>
                                          <p:tavLst>
                                            <p:tav tm="0">
                                              <p:val>
                                                <p:strVal val="#ppt_x"/>
                                              </p:val>
                                            </p:tav>
                                            <p:tav tm="100000">
                                              <p:val>
                                                <p:strVal val="#ppt_x"/>
                                              </p:val>
                                            </p:tav>
                                          </p:tavLst>
                                        </p:anim>
                                        <p:anim calcmode="lin" valueType="num" p14:bounceEnd="60000">
                                          <p:cBhvr additive="base">
                                            <p:cTn id="17" dur="100" fill="hold"/>
                                            <p:tgtEl>
                                              <p:spTgt spid="73"/>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14:presetBounceEnd="60000">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14:bounceEnd="60000">
                                          <p:cBhvr additive="base">
                                            <p:cTn id="21" dur="100" fill="hold"/>
                                            <p:tgtEl>
                                              <p:spTgt spid="74"/>
                                            </p:tgtEl>
                                            <p:attrNameLst>
                                              <p:attrName>ppt_x</p:attrName>
                                            </p:attrNameLst>
                                          </p:cBhvr>
                                          <p:tavLst>
                                            <p:tav tm="0">
                                              <p:val>
                                                <p:strVal val="#ppt_x"/>
                                              </p:val>
                                            </p:tav>
                                            <p:tav tm="100000">
                                              <p:val>
                                                <p:strVal val="#ppt_x"/>
                                              </p:val>
                                            </p:tav>
                                          </p:tavLst>
                                        </p:anim>
                                        <p:anim calcmode="lin" valueType="num" p14:bounceEnd="60000">
                                          <p:cBhvr additive="base">
                                            <p:cTn id="22" dur="100" fill="hold"/>
                                            <p:tgtEl>
                                              <p:spTgt spid="74"/>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2" presetClass="entr" presetSubtype="4" fill="hold" grpId="0" nodeType="afterEffect" p14:presetBounceEnd="60000">
                                      <p:stCondLst>
                                        <p:cond delay="0"/>
                                      </p:stCondLst>
                                      <p:childTnLst>
                                        <p:set>
                                          <p:cBhvr>
                                            <p:cTn id="25" dur="1" fill="hold">
                                              <p:stCondLst>
                                                <p:cond delay="0"/>
                                              </p:stCondLst>
                                            </p:cTn>
                                            <p:tgtEl>
                                              <p:spTgt spid="75"/>
                                            </p:tgtEl>
                                            <p:attrNameLst>
                                              <p:attrName>style.visibility</p:attrName>
                                            </p:attrNameLst>
                                          </p:cBhvr>
                                          <p:to>
                                            <p:strVal val="visible"/>
                                          </p:to>
                                        </p:set>
                                        <p:anim calcmode="lin" valueType="num" p14:bounceEnd="60000">
                                          <p:cBhvr additive="base">
                                            <p:cTn id="26" dur="100" fill="hold"/>
                                            <p:tgtEl>
                                              <p:spTgt spid="75"/>
                                            </p:tgtEl>
                                            <p:attrNameLst>
                                              <p:attrName>ppt_x</p:attrName>
                                            </p:attrNameLst>
                                          </p:cBhvr>
                                          <p:tavLst>
                                            <p:tav tm="0">
                                              <p:val>
                                                <p:strVal val="#ppt_x"/>
                                              </p:val>
                                            </p:tav>
                                            <p:tav tm="100000">
                                              <p:val>
                                                <p:strVal val="#ppt_x"/>
                                              </p:val>
                                            </p:tav>
                                          </p:tavLst>
                                        </p:anim>
                                        <p:anim calcmode="lin" valueType="num" p14:bounceEnd="60000">
                                          <p:cBhvr additive="base">
                                            <p:cTn id="27" dur="1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2500"/>
                                </p:stCondLst>
                                <p:childTnLst>
                                  <p:par>
                                    <p:cTn id="29" presetID="2" presetClass="entr" presetSubtype="4" fill="hold" grpId="0" nodeType="afterEffect" p14:presetBounceEnd="60000">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14:bounceEnd="60000">
                                          <p:cBhvr additive="base">
                                            <p:cTn id="31" dur="100" fill="hold"/>
                                            <p:tgtEl>
                                              <p:spTgt spid="76"/>
                                            </p:tgtEl>
                                            <p:attrNameLst>
                                              <p:attrName>ppt_x</p:attrName>
                                            </p:attrNameLst>
                                          </p:cBhvr>
                                          <p:tavLst>
                                            <p:tav tm="0">
                                              <p:val>
                                                <p:strVal val="#ppt_x"/>
                                              </p:val>
                                            </p:tav>
                                            <p:tav tm="100000">
                                              <p:val>
                                                <p:strVal val="#ppt_x"/>
                                              </p:val>
                                            </p:tav>
                                          </p:tavLst>
                                        </p:anim>
                                        <p:anim calcmode="lin" valueType="num" p14:bounceEnd="60000">
                                          <p:cBhvr additive="base">
                                            <p:cTn id="32" dur="100" fill="hold"/>
                                            <p:tgtEl>
                                              <p:spTgt spid="76"/>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2" presetClass="entr" presetSubtype="4" fill="hold" grpId="0" nodeType="afterEffect" p14:presetBounceEnd="60000">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14:bounceEnd="60000">
                                          <p:cBhvr additive="base">
                                            <p:cTn id="36" dur="100" fill="hold"/>
                                            <p:tgtEl>
                                              <p:spTgt spid="77"/>
                                            </p:tgtEl>
                                            <p:attrNameLst>
                                              <p:attrName>ppt_x</p:attrName>
                                            </p:attrNameLst>
                                          </p:cBhvr>
                                          <p:tavLst>
                                            <p:tav tm="0">
                                              <p:val>
                                                <p:strVal val="#ppt_x"/>
                                              </p:val>
                                            </p:tav>
                                            <p:tav tm="100000">
                                              <p:val>
                                                <p:strVal val="#ppt_x"/>
                                              </p:val>
                                            </p:tav>
                                          </p:tavLst>
                                        </p:anim>
                                        <p:anim calcmode="lin" valueType="num" p14:bounceEnd="60000">
                                          <p:cBhvr additive="base">
                                            <p:cTn id="37" dur="100" fill="hold"/>
                                            <p:tgtEl>
                                              <p:spTgt spid="77"/>
                                            </p:tgtEl>
                                            <p:attrNameLst>
                                              <p:attrName>ppt_y</p:attrName>
                                            </p:attrNameLst>
                                          </p:cBhvr>
                                          <p:tavLst>
                                            <p:tav tm="0">
                                              <p:val>
                                                <p:strVal val="1+#ppt_h/2"/>
                                              </p:val>
                                            </p:tav>
                                            <p:tav tm="100000">
                                              <p:val>
                                                <p:strVal val="#ppt_y"/>
                                              </p:val>
                                            </p:tav>
                                          </p:tavLst>
                                        </p:anim>
                                      </p:childTnLst>
                                    </p:cTn>
                                  </p:par>
                                </p:childTnLst>
                              </p:cTn>
                            </p:par>
                            <p:par>
                              <p:cTn id="38" fill="hold">
                                <p:stCondLst>
                                  <p:cond delay="3500"/>
                                </p:stCondLst>
                                <p:childTnLst>
                                  <p:par>
                                    <p:cTn id="39" presetID="2" presetClass="entr" presetSubtype="8" fill="hold" grpId="0" nodeType="afterEffect" p14:presetBounceEnd="60000">
                                      <p:stCondLst>
                                        <p:cond delay="0"/>
                                      </p:stCondLst>
                                      <p:childTnLst>
                                        <p:set>
                                          <p:cBhvr>
                                            <p:cTn id="40" dur="1" fill="hold">
                                              <p:stCondLst>
                                                <p:cond delay="0"/>
                                              </p:stCondLst>
                                            </p:cTn>
                                            <p:tgtEl>
                                              <p:spTgt spid="79"/>
                                            </p:tgtEl>
                                            <p:attrNameLst>
                                              <p:attrName>style.visibility</p:attrName>
                                            </p:attrNameLst>
                                          </p:cBhvr>
                                          <p:to>
                                            <p:strVal val="visible"/>
                                          </p:to>
                                        </p:set>
                                        <p:anim calcmode="lin" valueType="num" p14:bounceEnd="60000">
                                          <p:cBhvr additive="base">
                                            <p:cTn id="41" dur="100" fill="hold"/>
                                            <p:tgtEl>
                                              <p:spTgt spid="79"/>
                                            </p:tgtEl>
                                            <p:attrNameLst>
                                              <p:attrName>ppt_x</p:attrName>
                                            </p:attrNameLst>
                                          </p:cBhvr>
                                          <p:tavLst>
                                            <p:tav tm="0">
                                              <p:val>
                                                <p:strVal val="0-#ppt_w/2"/>
                                              </p:val>
                                            </p:tav>
                                            <p:tav tm="100000">
                                              <p:val>
                                                <p:strVal val="#ppt_x"/>
                                              </p:val>
                                            </p:tav>
                                          </p:tavLst>
                                        </p:anim>
                                        <p:anim calcmode="lin" valueType="num" p14:bounceEnd="60000">
                                          <p:cBhvr additive="base">
                                            <p:cTn id="42" dur="100" fill="hold"/>
                                            <p:tgtEl>
                                              <p:spTgt spid="79"/>
                                            </p:tgtEl>
                                            <p:attrNameLst>
                                              <p:attrName>ppt_y</p:attrName>
                                            </p:attrNameLst>
                                          </p:cBhvr>
                                          <p:tavLst>
                                            <p:tav tm="0">
                                              <p:val>
                                                <p:strVal val="#ppt_y"/>
                                              </p:val>
                                            </p:tav>
                                            <p:tav tm="100000">
                                              <p:val>
                                                <p:strVal val="#ppt_y"/>
                                              </p:val>
                                            </p:tav>
                                          </p:tavLst>
                                        </p:anim>
                                      </p:childTnLst>
                                    </p:cTn>
                                  </p:par>
                                </p:childTnLst>
                              </p:cTn>
                            </p:par>
                            <p:par>
                              <p:cTn id="43" fill="hold">
                                <p:stCondLst>
                                  <p:cond delay="4000"/>
                                </p:stCondLst>
                                <p:childTnLst>
                                  <p:par>
                                    <p:cTn id="44" presetID="2" presetClass="entr" presetSubtype="8" fill="hold" grpId="0" nodeType="afterEffect" p14:presetBounceEnd="60000">
                                      <p:stCondLst>
                                        <p:cond delay="0"/>
                                      </p:stCondLst>
                                      <p:childTnLst>
                                        <p:set>
                                          <p:cBhvr>
                                            <p:cTn id="45" dur="1" fill="hold">
                                              <p:stCondLst>
                                                <p:cond delay="0"/>
                                              </p:stCondLst>
                                            </p:cTn>
                                            <p:tgtEl>
                                              <p:spTgt spid="78"/>
                                            </p:tgtEl>
                                            <p:attrNameLst>
                                              <p:attrName>style.visibility</p:attrName>
                                            </p:attrNameLst>
                                          </p:cBhvr>
                                          <p:to>
                                            <p:strVal val="visible"/>
                                          </p:to>
                                        </p:set>
                                        <p:anim calcmode="lin" valueType="num" p14:bounceEnd="60000">
                                          <p:cBhvr additive="base">
                                            <p:cTn id="46" dur="100" fill="hold"/>
                                            <p:tgtEl>
                                              <p:spTgt spid="78"/>
                                            </p:tgtEl>
                                            <p:attrNameLst>
                                              <p:attrName>ppt_x</p:attrName>
                                            </p:attrNameLst>
                                          </p:cBhvr>
                                          <p:tavLst>
                                            <p:tav tm="0">
                                              <p:val>
                                                <p:strVal val="0-#ppt_w/2"/>
                                              </p:val>
                                            </p:tav>
                                            <p:tav tm="100000">
                                              <p:val>
                                                <p:strVal val="#ppt_x"/>
                                              </p:val>
                                            </p:tav>
                                          </p:tavLst>
                                        </p:anim>
                                        <p:anim calcmode="lin" valueType="num" p14:bounceEnd="60000">
                                          <p:cBhvr additive="base">
                                            <p:cTn id="47" dur="100" fill="hold"/>
                                            <p:tgtEl>
                                              <p:spTgt spid="78"/>
                                            </p:tgtEl>
                                            <p:attrNameLst>
                                              <p:attrName>ppt_y</p:attrName>
                                            </p:attrNameLst>
                                          </p:cBhvr>
                                          <p:tavLst>
                                            <p:tav tm="0">
                                              <p:val>
                                                <p:strVal val="#ppt_y"/>
                                              </p:val>
                                            </p:tav>
                                            <p:tav tm="100000">
                                              <p:val>
                                                <p:strVal val="#ppt_y"/>
                                              </p:val>
                                            </p:tav>
                                          </p:tavLst>
                                        </p:anim>
                                      </p:childTnLst>
                                    </p:cTn>
                                  </p:par>
                                </p:childTnLst>
                              </p:cTn>
                            </p:par>
                            <p:par>
                              <p:cTn id="48" fill="hold">
                                <p:stCondLst>
                                  <p:cond delay="4500"/>
                                </p:stCondLst>
                                <p:childTnLst>
                                  <p:par>
                                    <p:cTn id="49" presetID="2" presetClass="entr" presetSubtype="8" fill="hold" grpId="0" nodeType="afterEffect" p14:presetBounceEnd="60000">
                                      <p:stCondLst>
                                        <p:cond delay="0"/>
                                      </p:stCondLst>
                                      <p:childTnLst>
                                        <p:set>
                                          <p:cBhvr>
                                            <p:cTn id="50" dur="1" fill="hold">
                                              <p:stCondLst>
                                                <p:cond delay="0"/>
                                              </p:stCondLst>
                                            </p:cTn>
                                            <p:tgtEl>
                                              <p:spTgt spid="80"/>
                                            </p:tgtEl>
                                            <p:attrNameLst>
                                              <p:attrName>style.visibility</p:attrName>
                                            </p:attrNameLst>
                                          </p:cBhvr>
                                          <p:to>
                                            <p:strVal val="visible"/>
                                          </p:to>
                                        </p:set>
                                        <p:anim calcmode="lin" valueType="num" p14:bounceEnd="60000">
                                          <p:cBhvr additive="base">
                                            <p:cTn id="51" dur="100" fill="hold"/>
                                            <p:tgtEl>
                                              <p:spTgt spid="80"/>
                                            </p:tgtEl>
                                            <p:attrNameLst>
                                              <p:attrName>ppt_x</p:attrName>
                                            </p:attrNameLst>
                                          </p:cBhvr>
                                          <p:tavLst>
                                            <p:tav tm="0">
                                              <p:val>
                                                <p:strVal val="0-#ppt_w/2"/>
                                              </p:val>
                                            </p:tav>
                                            <p:tav tm="100000">
                                              <p:val>
                                                <p:strVal val="#ppt_x"/>
                                              </p:val>
                                            </p:tav>
                                          </p:tavLst>
                                        </p:anim>
                                        <p:anim calcmode="lin" valueType="num" p14:bounceEnd="60000">
                                          <p:cBhvr additive="base">
                                            <p:cTn id="52" dur="100" fill="hold"/>
                                            <p:tgtEl>
                                              <p:spTgt spid="80"/>
                                            </p:tgtEl>
                                            <p:attrNameLst>
                                              <p:attrName>ppt_y</p:attrName>
                                            </p:attrNameLst>
                                          </p:cBhvr>
                                          <p:tavLst>
                                            <p:tav tm="0">
                                              <p:val>
                                                <p:strVal val="#ppt_y"/>
                                              </p:val>
                                            </p:tav>
                                            <p:tav tm="100000">
                                              <p:val>
                                                <p:strVal val="#ppt_y"/>
                                              </p:val>
                                            </p:tav>
                                          </p:tavLst>
                                        </p:anim>
                                      </p:childTnLst>
                                    </p:cTn>
                                  </p:par>
                                </p:childTnLst>
                              </p:cTn>
                            </p:par>
                            <p:par>
                              <p:cTn id="53" fill="hold">
                                <p:stCondLst>
                                  <p:cond delay="5000"/>
                                </p:stCondLst>
                                <p:childTnLst>
                                  <p:par>
                                    <p:cTn id="54" presetID="2" presetClass="entr" presetSubtype="8" fill="hold" grpId="0" nodeType="afterEffect" p14:presetBounceEnd="60000">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14:bounceEnd="60000">
                                          <p:cBhvr additive="base">
                                            <p:cTn id="56" dur="100" fill="hold"/>
                                            <p:tgtEl>
                                              <p:spTgt spid="81"/>
                                            </p:tgtEl>
                                            <p:attrNameLst>
                                              <p:attrName>ppt_x</p:attrName>
                                            </p:attrNameLst>
                                          </p:cBhvr>
                                          <p:tavLst>
                                            <p:tav tm="0">
                                              <p:val>
                                                <p:strVal val="0-#ppt_w/2"/>
                                              </p:val>
                                            </p:tav>
                                            <p:tav tm="100000">
                                              <p:val>
                                                <p:strVal val="#ppt_x"/>
                                              </p:val>
                                            </p:tav>
                                          </p:tavLst>
                                        </p:anim>
                                        <p:anim calcmode="lin" valueType="num" p14:bounceEnd="60000">
                                          <p:cBhvr additive="base">
                                            <p:cTn id="57" dur="100" fill="hold"/>
                                            <p:tgtEl>
                                              <p:spTgt spid="81"/>
                                            </p:tgtEl>
                                            <p:attrNameLst>
                                              <p:attrName>ppt_y</p:attrName>
                                            </p:attrNameLst>
                                          </p:cBhvr>
                                          <p:tavLst>
                                            <p:tav tm="0">
                                              <p:val>
                                                <p:strVal val="#ppt_y"/>
                                              </p:val>
                                            </p:tav>
                                            <p:tav tm="100000">
                                              <p:val>
                                                <p:strVal val="#ppt_y"/>
                                              </p:val>
                                            </p:tav>
                                          </p:tavLst>
                                        </p:anim>
                                      </p:childTnLst>
                                    </p:cTn>
                                  </p:par>
                                </p:childTnLst>
                              </p:cTn>
                            </p:par>
                            <p:par>
                              <p:cTn id="58" fill="hold">
                                <p:stCondLst>
                                  <p:cond delay="5500"/>
                                </p:stCondLst>
                                <p:childTnLst>
                                  <p:par>
                                    <p:cTn id="59" presetID="2" presetClass="entr" presetSubtype="8" fill="hold" grpId="0" nodeType="afterEffect" p14:presetBounceEnd="60000">
                                      <p:stCondLst>
                                        <p:cond delay="0"/>
                                      </p:stCondLst>
                                      <p:childTnLst>
                                        <p:set>
                                          <p:cBhvr>
                                            <p:cTn id="60" dur="1" fill="hold">
                                              <p:stCondLst>
                                                <p:cond delay="0"/>
                                              </p:stCondLst>
                                            </p:cTn>
                                            <p:tgtEl>
                                              <p:spTgt spid="82"/>
                                            </p:tgtEl>
                                            <p:attrNameLst>
                                              <p:attrName>style.visibility</p:attrName>
                                            </p:attrNameLst>
                                          </p:cBhvr>
                                          <p:to>
                                            <p:strVal val="visible"/>
                                          </p:to>
                                        </p:set>
                                        <p:anim calcmode="lin" valueType="num" p14:bounceEnd="60000">
                                          <p:cBhvr additive="base">
                                            <p:cTn id="61" dur="100" fill="hold"/>
                                            <p:tgtEl>
                                              <p:spTgt spid="82"/>
                                            </p:tgtEl>
                                            <p:attrNameLst>
                                              <p:attrName>ppt_x</p:attrName>
                                            </p:attrNameLst>
                                          </p:cBhvr>
                                          <p:tavLst>
                                            <p:tav tm="0">
                                              <p:val>
                                                <p:strVal val="0-#ppt_w/2"/>
                                              </p:val>
                                            </p:tav>
                                            <p:tav tm="100000">
                                              <p:val>
                                                <p:strVal val="#ppt_x"/>
                                              </p:val>
                                            </p:tav>
                                          </p:tavLst>
                                        </p:anim>
                                        <p:anim calcmode="lin" valueType="num" p14:bounceEnd="60000">
                                          <p:cBhvr additive="base">
                                            <p:cTn id="62" dur="100" fill="hold"/>
                                            <p:tgtEl>
                                              <p:spTgt spid="82"/>
                                            </p:tgtEl>
                                            <p:attrNameLst>
                                              <p:attrName>ppt_y</p:attrName>
                                            </p:attrNameLst>
                                          </p:cBhvr>
                                          <p:tavLst>
                                            <p:tav tm="0">
                                              <p:val>
                                                <p:strVal val="#ppt_y"/>
                                              </p:val>
                                            </p:tav>
                                            <p:tav tm="100000">
                                              <p:val>
                                                <p:strVal val="#ppt_y"/>
                                              </p:val>
                                            </p:tav>
                                          </p:tavLst>
                                        </p:anim>
                                      </p:childTnLst>
                                    </p:cTn>
                                  </p:par>
                                </p:childTnLst>
                              </p:cTn>
                            </p:par>
                            <p:par>
                              <p:cTn id="63" fill="hold">
                                <p:stCondLst>
                                  <p:cond delay="6000"/>
                                </p:stCondLst>
                                <p:childTnLst>
                                  <p:par>
                                    <p:cTn id="64" presetID="2" presetClass="entr" presetSubtype="8" fill="hold" grpId="0" nodeType="afterEffect" p14:presetBounceEnd="60000">
                                      <p:stCondLst>
                                        <p:cond delay="0"/>
                                      </p:stCondLst>
                                      <p:childTnLst>
                                        <p:set>
                                          <p:cBhvr>
                                            <p:cTn id="65" dur="1" fill="hold">
                                              <p:stCondLst>
                                                <p:cond delay="0"/>
                                              </p:stCondLst>
                                            </p:cTn>
                                            <p:tgtEl>
                                              <p:spTgt spid="83"/>
                                            </p:tgtEl>
                                            <p:attrNameLst>
                                              <p:attrName>style.visibility</p:attrName>
                                            </p:attrNameLst>
                                          </p:cBhvr>
                                          <p:to>
                                            <p:strVal val="visible"/>
                                          </p:to>
                                        </p:set>
                                        <p:anim calcmode="lin" valueType="num" p14:bounceEnd="60000">
                                          <p:cBhvr additive="base">
                                            <p:cTn id="66" dur="100" fill="hold"/>
                                            <p:tgtEl>
                                              <p:spTgt spid="83"/>
                                            </p:tgtEl>
                                            <p:attrNameLst>
                                              <p:attrName>ppt_x</p:attrName>
                                            </p:attrNameLst>
                                          </p:cBhvr>
                                          <p:tavLst>
                                            <p:tav tm="0">
                                              <p:val>
                                                <p:strVal val="0-#ppt_w/2"/>
                                              </p:val>
                                            </p:tav>
                                            <p:tav tm="100000">
                                              <p:val>
                                                <p:strVal val="#ppt_x"/>
                                              </p:val>
                                            </p:tav>
                                          </p:tavLst>
                                        </p:anim>
                                        <p:anim calcmode="lin" valueType="num" p14:bounceEnd="60000">
                                          <p:cBhvr additive="base">
                                            <p:cTn id="67" dur="100" fill="hold"/>
                                            <p:tgtEl>
                                              <p:spTgt spid="83"/>
                                            </p:tgtEl>
                                            <p:attrNameLst>
                                              <p:attrName>ppt_y</p:attrName>
                                            </p:attrNameLst>
                                          </p:cBhvr>
                                          <p:tavLst>
                                            <p:tav tm="0">
                                              <p:val>
                                                <p:strVal val="#ppt_y"/>
                                              </p:val>
                                            </p:tav>
                                            <p:tav tm="100000">
                                              <p:val>
                                                <p:strVal val="#ppt_y"/>
                                              </p:val>
                                            </p:tav>
                                          </p:tavLst>
                                        </p:anim>
                                      </p:childTnLst>
                                    </p:cTn>
                                  </p:par>
                                </p:childTnLst>
                              </p:cTn>
                            </p:par>
                            <p:par>
                              <p:cTn id="68" fill="hold">
                                <p:stCondLst>
                                  <p:cond delay="6500"/>
                                </p:stCondLst>
                                <p:childTnLst>
                                  <p:par>
                                    <p:cTn id="69" presetID="2" presetClass="entr" presetSubtype="8" fill="hold" grpId="0" nodeType="afterEffect" p14:presetBounceEnd="60000">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14:bounceEnd="60000">
                                          <p:cBhvr additive="base">
                                            <p:cTn id="71" dur="100" fill="hold"/>
                                            <p:tgtEl>
                                              <p:spTgt spid="84"/>
                                            </p:tgtEl>
                                            <p:attrNameLst>
                                              <p:attrName>ppt_x</p:attrName>
                                            </p:attrNameLst>
                                          </p:cBhvr>
                                          <p:tavLst>
                                            <p:tav tm="0">
                                              <p:val>
                                                <p:strVal val="0-#ppt_w/2"/>
                                              </p:val>
                                            </p:tav>
                                            <p:tav tm="100000">
                                              <p:val>
                                                <p:strVal val="#ppt_x"/>
                                              </p:val>
                                            </p:tav>
                                          </p:tavLst>
                                        </p:anim>
                                        <p:anim calcmode="lin" valueType="num" p14:bounceEnd="60000">
                                          <p:cBhvr additive="base">
                                            <p:cTn id="72" dur="100" fill="hold"/>
                                            <p:tgtEl>
                                              <p:spTgt spid="84"/>
                                            </p:tgtEl>
                                            <p:attrNameLst>
                                              <p:attrName>ppt_y</p:attrName>
                                            </p:attrNameLst>
                                          </p:cBhvr>
                                          <p:tavLst>
                                            <p:tav tm="0">
                                              <p:val>
                                                <p:strVal val="#ppt_y"/>
                                              </p:val>
                                            </p:tav>
                                            <p:tav tm="100000">
                                              <p:val>
                                                <p:strVal val="#ppt_y"/>
                                              </p:val>
                                            </p:tav>
                                          </p:tavLst>
                                        </p:anim>
                                      </p:childTnLst>
                                    </p:cTn>
                                  </p:par>
                                </p:childTnLst>
                              </p:cTn>
                            </p:par>
                            <p:par>
                              <p:cTn id="73" fill="hold">
                                <p:stCondLst>
                                  <p:cond delay="7000"/>
                                </p:stCondLst>
                                <p:childTnLst>
                                  <p:par>
                                    <p:cTn id="74" presetID="2" presetClass="entr" presetSubtype="8" fill="hold" grpId="0" nodeType="afterEffect" p14:presetBounceEnd="60000">
                                      <p:stCondLst>
                                        <p:cond delay="0"/>
                                      </p:stCondLst>
                                      <p:childTnLst>
                                        <p:set>
                                          <p:cBhvr>
                                            <p:cTn id="75" dur="1" fill="hold">
                                              <p:stCondLst>
                                                <p:cond delay="0"/>
                                              </p:stCondLst>
                                            </p:cTn>
                                            <p:tgtEl>
                                              <p:spTgt spid="85"/>
                                            </p:tgtEl>
                                            <p:attrNameLst>
                                              <p:attrName>style.visibility</p:attrName>
                                            </p:attrNameLst>
                                          </p:cBhvr>
                                          <p:to>
                                            <p:strVal val="visible"/>
                                          </p:to>
                                        </p:set>
                                        <p:anim calcmode="lin" valueType="num" p14:bounceEnd="60000">
                                          <p:cBhvr additive="base">
                                            <p:cTn id="76" dur="100" fill="hold"/>
                                            <p:tgtEl>
                                              <p:spTgt spid="85"/>
                                            </p:tgtEl>
                                            <p:attrNameLst>
                                              <p:attrName>ppt_x</p:attrName>
                                            </p:attrNameLst>
                                          </p:cBhvr>
                                          <p:tavLst>
                                            <p:tav tm="0">
                                              <p:val>
                                                <p:strVal val="0-#ppt_w/2"/>
                                              </p:val>
                                            </p:tav>
                                            <p:tav tm="100000">
                                              <p:val>
                                                <p:strVal val="#ppt_x"/>
                                              </p:val>
                                            </p:tav>
                                          </p:tavLst>
                                        </p:anim>
                                        <p:anim calcmode="lin" valueType="num" p14:bounceEnd="60000">
                                          <p:cBhvr additive="base">
                                            <p:cTn id="77" dur="100" fill="hold"/>
                                            <p:tgtEl>
                                              <p:spTgt spid="85"/>
                                            </p:tgtEl>
                                            <p:attrNameLst>
                                              <p:attrName>ppt_y</p:attrName>
                                            </p:attrNameLst>
                                          </p:cBhvr>
                                          <p:tavLst>
                                            <p:tav tm="0">
                                              <p:val>
                                                <p:strVal val="#ppt_y"/>
                                              </p:val>
                                            </p:tav>
                                            <p:tav tm="100000">
                                              <p:val>
                                                <p:strVal val="#ppt_y"/>
                                              </p:val>
                                            </p:tav>
                                          </p:tavLst>
                                        </p:anim>
                                      </p:childTnLst>
                                    </p:cTn>
                                  </p:par>
                                </p:childTnLst>
                              </p:cTn>
                            </p:par>
                            <p:par>
                              <p:cTn id="78" fill="hold">
                                <p:stCondLst>
                                  <p:cond delay="7500"/>
                                </p:stCondLst>
                                <p:childTnLst>
                                  <p:par>
                                    <p:cTn id="79" presetID="2" presetClass="entr" presetSubtype="8" fill="hold" grpId="0" nodeType="afterEffect" p14:presetBounceEnd="60000">
                                      <p:stCondLst>
                                        <p:cond delay="0"/>
                                      </p:stCondLst>
                                      <p:childTnLst>
                                        <p:set>
                                          <p:cBhvr>
                                            <p:cTn id="80" dur="1" fill="hold">
                                              <p:stCondLst>
                                                <p:cond delay="0"/>
                                              </p:stCondLst>
                                            </p:cTn>
                                            <p:tgtEl>
                                              <p:spTgt spid="86"/>
                                            </p:tgtEl>
                                            <p:attrNameLst>
                                              <p:attrName>style.visibility</p:attrName>
                                            </p:attrNameLst>
                                          </p:cBhvr>
                                          <p:to>
                                            <p:strVal val="visible"/>
                                          </p:to>
                                        </p:set>
                                        <p:anim calcmode="lin" valueType="num" p14:bounceEnd="60000">
                                          <p:cBhvr additive="base">
                                            <p:cTn id="81" dur="100" fill="hold"/>
                                            <p:tgtEl>
                                              <p:spTgt spid="86"/>
                                            </p:tgtEl>
                                            <p:attrNameLst>
                                              <p:attrName>ppt_x</p:attrName>
                                            </p:attrNameLst>
                                          </p:cBhvr>
                                          <p:tavLst>
                                            <p:tav tm="0">
                                              <p:val>
                                                <p:strVal val="0-#ppt_w/2"/>
                                              </p:val>
                                            </p:tav>
                                            <p:tav tm="100000">
                                              <p:val>
                                                <p:strVal val="#ppt_x"/>
                                              </p:val>
                                            </p:tav>
                                          </p:tavLst>
                                        </p:anim>
                                        <p:anim calcmode="lin" valueType="num" p14:bounceEnd="60000">
                                          <p:cBhvr additive="base">
                                            <p:cTn id="82" dur="100" fill="hold"/>
                                            <p:tgtEl>
                                              <p:spTgt spid="86"/>
                                            </p:tgtEl>
                                            <p:attrNameLst>
                                              <p:attrName>ppt_y</p:attrName>
                                            </p:attrNameLst>
                                          </p:cBhvr>
                                          <p:tavLst>
                                            <p:tav tm="0">
                                              <p:val>
                                                <p:strVal val="#ppt_y"/>
                                              </p:val>
                                            </p:tav>
                                            <p:tav tm="100000">
                                              <p:val>
                                                <p:strVal val="#ppt_y"/>
                                              </p:val>
                                            </p:tav>
                                          </p:tavLst>
                                        </p:anim>
                                      </p:childTnLst>
                                    </p:cTn>
                                  </p:par>
                                </p:childTnLst>
                              </p:cTn>
                            </p:par>
                            <p:par>
                              <p:cTn id="83" fill="hold">
                                <p:stCondLst>
                                  <p:cond delay="8000"/>
                                </p:stCondLst>
                                <p:childTnLst>
                                  <p:par>
                                    <p:cTn id="84" presetID="42"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100"/>
                                            <p:tgtEl>
                                              <p:spTgt spid="54"/>
                                            </p:tgtEl>
                                          </p:cBhvr>
                                        </p:animEffect>
                                        <p:anim calcmode="lin" valueType="num">
                                          <p:cBhvr>
                                            <p:cTn id="87" dur="100" fill="hold"/>
                                            <p:tgtEl>
                                              <p:spTgt spid="54"/>
                                            </p:tgtEl>
                                            <p:attrNameLst>
                                              <p:attrName>ppt_x</p:attrName>
                                            </p:attrNameLst>
                                          </p:cBhvr>
                                          <p:tavLst>
                                            <p:tav tm="0">
                                              <p:val>
                                                <p:strVal val="#ppt_x"/>
                                              </p:val>
                                            </p:tav>
                                            <p:tav tm="100000">
                                              <p:val>
                                                <p:strVal val="#ppt_x"/>
                                              </p:val>
                                            </p:tav>
                                          </p:tavLst>
                                        </p:anim>
                                        <p:anim calcmode="lin" valueType="num">
                                          <p:cBhvr>
                                            <p:cTn id="88" dur="100" fill="hold"/>
                                            <p:tgtEl>
                                              <p:spTgt spid="54"/>
                                            </p:tgtEl>
                                            <p:attrNameLst>
                                              <p:attrName>ppt_y</p:attrName>
                                            </p:attrNameLst>
                                          </p:cBhvr>
                                          <p:tavLst>
                                            <p:tav tm="0">
                                              <p:val>
                                                <p:strVal val="#ppt_y+.1"/>
                                              </p:val>
                                            </p:tav>
                                            <p:tav tm="100000">
                                              <p:val>
                                                <p:strVal val="#ppt_y"/>
                                              </p:val>
                                            </p:tav>
                                          </p:tavLst>
                                        </p:anim>
                                      </p:childTnLst>
                                    </p:cTn>
                                  </p:par>
                                </p:childTnLst>
                              </p:cTn>
                            </p:par>
                            <p:par>
                              <p:cTn id="89" fill="hold">
                                <p:stCondLst>
                                  <p:cond delay="8500"/>
                                </p:stCondLst>
                                <p:childTnLst>
                                  <p:par>
                                    <p:cTn id="90" presetID="42" presetClass="entr" presetSubtype="0" fill="hold" grpId="0" nodeType="after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fade">
                                          <p:cBhvr>
                                            <p:cTn id="92" dur="100"/>
                                            <p:tgtEl>
                                              <p:spTgt spid="63"/>
                                            </p:tgtEl>
                                          </p:cBhvr>
                                        </p:animEffect>
                                        <p:anim calcmode="lin" valueType="num">
                                          <p:cBhvr>
                                            <p:cTn id="93" dur="100" fill="hold"/>
                                            <p:tgtEl>
                                              <p:spTgt spid="63"/>
                                            </p:tgtEl>
                                            <p:attrNameLst>
                                              <p:attrName>ppt_x</p:attrName>
                                            </p:attrNameLst>
                                          </p:cBhvr>
                                          <p:tavLst>
                                            <p:tav tm="0">
                                              <p:val>
                                                <p:strVal val="#ppt_x"/>
                                              </p:val>
                                            </p:tav>
                                            <p:tav tm="100000">
                                              <p:val>
                                                <p:strVal val="#ppt_x"/>
                                              </p:val>
                                            </p:tav>
                                          </p:tavLst>
                                        </p:anim>
                                        <p:anim calcmode="lin" valueType="num">
                                          <p:cBhvr>
                                            <p:cTn id="94" dur="100" fill="hold"/>
                                            <p:tgtEl>
                                              <p:spTgt spid="63"/>
                                            </p:tgtEl>
                                            <p:attrNameLst>
                                              <p:attrName>ppt_y</p:attrName>
                                            </p:attrNameLst>
                                          </p:cBhvr>
                                          <p:tavLst>
                                            <p:tav tm="0">
                                              <p:val>
                                                <p:strVal val="#ppt_y+.1"/>
                                              </p:val>
                                            </p:tav>
                                            <p:tav tm="100000">
                                              <p:val>
                                                <p:strVal val="#ppt_y"/>
                                              </p:val>
                                            </p:tav>
                                          </p:tavLst>
                                        </p:anim>
                                      </p:childTnLst>
                                    </p:cTn>
                                  </p:par>
                                </p:childTnLst>
                              </p:cTn>
                            </p:par>
                            <p:par>
                              <p:cTn id="95" fill="hold">
                                <p:stCondLst>
                                  <p:cond delay="9000"/>
                                </p:stCondLst>
                                <p:childTnLst>
                                  <p:par>
                                    <p:cTn id="96" presetID="42" presetClass="entr" presetSubtype="0" fill="hold" grpId="0" nodeType="after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100"/>
                                            <p:tgtEl>
                                              <p:spTgt spid="55"/>
                                            </p:tgtEl>
                                          </p:cBhvr>
                                        </p:animEffect>
                                        <p:anim calcmode="lin" valueType="num">
                                          <p:cBhvr>
                                            <p:cTn id="99" dur="100" fill="hold"/>
                                            <p:tgtEl>
                                              <p:spTgt spid="55"/>
                                            </p:tgtEl>
                                            <p:attrNameLst>
                                              <p:attrName>ppt_x</p:attrName>
                                            </p:attrNameLst>
                                          </p:cBhvr>
                                          <p:tavLst>
                                            <p:tav tm="0">
                                              <p:val>
                                                <p:strVal val="#ppt_x"/>
                                              </p:val>
                                            </p:tav>
                                            <p:tav tm="100000">
                                              <p:val>
                                                <p:strVal val="#ppt_x"/>
                                              </p:val>
                                            </p:tav>
                                          </p:tavLst>
                                        </p:anim>
                                        <p:anim calcmode="lin" valueType="num">
                                          <p:cBhvr>
                                            <p:cTn id="100" dur="100" fill="hold"/>
                                            <p:tgtEl>
                                              <p:spTgt spid="55"/>
                                            </p:tgtEl>
                                            <p:attrNameLst>
                                              <p:attrName>ppt_y</p:attrName>
                                            </p:attrNameLst>
                                          </p:cBhvr>
                                          <p:tavLst>
                                            <p:tav tm="0">
                                              <p:val>
                                                <p:strVal val="#ppt_y+.1"/>
                                              </p:val>
                                            </p:tav>
                                            <p:tav tm="100000">
                                              <p:val>
                                                <p:strVal val="#ppt_y"/>
                                              </p:val>
                                            </p:tav>
                                          </p:tavLst>
                                        </p:anim>
                                      </p:childTnLst>
                                    </p:cTn>
                                  </p:par>
                                </p:childTnLst>
                              </p:cTn>
                            </p:par>
                            <p:par>
                              <p:cTn id="101" fill="hold">
                                <p:stCondLst>
                                  <p:cond delay="9500"/>
                                </p:stCondLst>
                                <p:childTnLst>
                                  <p:par>
                                    <p:cTn id="102" presetID="42" presetClass="entr" presetSubtype="0" fill="hold" grpId="0" nodeType="after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fade">
                                          <p:cBhvr>
                                            <p:cTn id="104" dur="100"/>
                                            <p:tgtEl>
                                              <p:spTgt spid="64"/>
                                            </p:tgtEl>
                                          </p:cBhvr>
                                        </p:animEffect>
                                        <p:anim calcmode="lin" valueType="num">
                                          <p:cBhvr>
                                            <p:cTn id="105" dur="100" fill="hold"/>
                                            <p:tgtEl>
                                              <p:spTgt spid="64"/>
                                            </p:tgtEl>
                                            <p:attrNameLst>
                                              <p:attrName>ppt_x</p:attrName>
                                            </p:attrNameLst>
                                          </p:cBhvr>
                                          <p:tavLst>
                                            <p:tav tm="0">
                                              <p:val>
                                                <p:strVal val="#ppt_x"/>
                                              </p:val>
                                            </p:tav>
                                            <p:tav tm="100000">
                                              <p:val>
                                                <p:strVal val="#ppt_x"/>
                                              </p:val>
                                            </p:tav>
                                          </p:tavLst>
                                        </p:anim>
                                        <p:anim calcmode="lin" valueType="num">
                                          <p:cBhvr>
                                            <p:cTn id="106" dur="100" fill="hold"/>
                                            <p:tgtEl>
                                              <p:spTgt spid="64"/>
                                            </p:tgtEl>
                                            <p:attrNameLst>
                                              <p:attrName>ppt_y</p:attrName>
                                            </p:attrNameLst>
                                          </p:cBhvr>
                                          <p:tavLst>
                                            <p:tav tm="0">
                                              <p:val>
                                                <p:strVal val="#ppt_y+.1"/>
                                              </p:val>
                                            </p:tav>
                                            <p:tav tm="100000">
                                              <p:val>
                                                <p:strVal val="#ppt_y"/>
                                              </p:val>
                                            </p:tav>
                                          </p:tavLst>
                                        </p:anim>
                                      </p:childTnLst>
                                    </p:cTn>
                                  </p:par>
                                </p:childTnLst>
                              </p:cTn>
                            </p:par>
                            <p:par>
                              <p:cTn id="107" fill="hold">
                                <p:stCondLst>
                                  <p:cond delay="10000"/>
                                </p:stCondLst>
                                <p:childTnLst>
                                  <p:par>
                                    <p:cTn id="108" presetID="42" presetClass="entr" presetSubtype="0" fill="hold" grpId="0"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
                                            <p:tgtEl>
                                              <p:spTgt spid="56"/>
                                            </p:tgtEl>
                                          </p:cBhvr>
                                        </p:animEffect>
                                        <p:anim calcmode="lin" valueType="num">
                                          <p:cBhvr>
                                            <p:cTn id="111" dur="100" fill="hold"/>
                                            <p:tgtEl>
                                              <p:spTgt spid="56"/>
                                            </p:tgtEl>
                                            <p:attrNameLst>
                                              <p:attrName>ppt_x</p:attrName>
                                            </p:attrNameLst>
                                          </p:cBhvr>
                                          <p:tavLst>
                                            <p:tav tm="0">
                                              <p:val>
                                                <p:strVal val="#ppt_x"/>
                                              </p:val>
                                            </p:tav>
                                            <p:tav tm="100000">
                                              <p:val>
                                                <p:strVal val="#ppt_x"/>
                                              </p:val>
                                            </p:tav>
                                          </p:tavLst>
                                        </p:anim>
                                        <p:anim calcmode="lin" valueType="num">
                                          <p:cBhvr>
                                            <p:cTn id="112" dur="100" fill="hold"/>
                                            <p:tgtEl>
                                              <p:spTgt spid="56"/>
                                            </p:tgtEl>
                                            <p:attrNameLst>
                                              <p:attrName>ppt_y</p:attrName>
                                            </p:attrNameLst>
                                          </p:cBhvr>
                                          <p:tavLst>
                                            <p:tav tm="0">
                                              <p:val>
                                                <p:strVal val="#ppt_y+.1"/>
                                              </p:val>
                                            </p:tav>
                                            <p:tav tm="100000">
                                              <p:val>
                                                <p:strVal val="#ppt_y"/>
                                              </p:val>
                                            </p:tav>
                                          </p:tavLst>
                                        </p:anim>
                                      </p:childTnLst>
                                    </p:cTn>
                                  </p:par>
                                </p:childTnLst>
                              </p:cTn>
                            </p:par>
                            <p:par>
                              <p:cTn id="113" fill="hold">
                                <p:stCondLst>
                                  <p:cond delay="10500"/>
                                </p:stCondLst>
                                <p:childTnLst>
                                  <p:par>
                                    <p:cTn id="114" presetID="42" presetClass="entr" presetSubtype="0" fill="hold" grpId="0" nodeType="after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100"/>
                                            <p:tgtEl>
                                              <p:spTgt spid="65"/>
                                            </p:tgtEl>
                                          </p:cBhvr>
                                        </p:animEffect>
                                        <p:anim calcmode="lin" valueType="num">
                                          <p:cBhvr>
                                            <p:cTn id="117" dur="100" fill="hold"/>
                                            <p:tgtEl>
                                              <p:spTgt spid="65"/>
                                            </p:tgtEl>
                                            <p:attrNameLst>
                                              <p:attrName>ppt_x</p:attrName>
                                            </p:attrNameLst>
                                          </p:cBhvr>
                                          <p:tavLst>
                                            <p:tav tm="0">
                                              <p:val>
                                                <p:strVal val="#ppt_x"/>
                                              </p:val>
                                            </p:tav>
                                            <p:tav tm="100000">
                                              <p:val>
                                                <p:strVal val="#ppt_x"/>
                                              </p:val>
                                            </p:tav>
                                          </p:tavLst>
                                        </p:anim>
                                        <p:anim calcmode="lin" valueType="num">
                                          <p:cBhvr>
                                            <p:cTn id="118" dur="100" fill="hold"/>
                                            <p:tgtEl>
                                              <p:spTgt spid="65"/>
                                            </p:tgtEl>
                                            <p:attrNameLst>
                                              <p:attrName>ppt_y</p:attrName>
                                            </p:attrNameLst>
                                          </p:cBhvr>
                                          <p:tavLst>
                                            <p:tav tm="0">
                                              <p:val>
                                                <p:strVal val="#ppt_y+.1"/>
                                              </p:val>
                                            </p:tav>
                                            <p:tav tm="100000">
                                              <p:val>
                                                <p:strVal val="#ppt_y"/>
                                              </p:val>
                                            </p:tav>
                                          </p:tavLst>
                                        </p:anim>
                                      </p:childTnLst>
                                    </p:cTn>
                                  </p:par>
                                </p:childTnLst>
                              </p:cTn>
                            </p:par>
                            <p:par>
                              <p:cTn id="119" fill="hold">
                                <p:stCondLst>
                                  <p:cond delay="11000"/>
                                </p:stCondLst>
                                <p:childTnLst>
                                  <p:par>
                                    <p:cTn id="120" presetID="42" presetClass="entr" presetSubtype="0" fill="hold" grpId="0" nodeType="afterEffect">
                                      <p:stCondLst>
                                        <p:cond delay="0"/>
                                      </p:stCondLst>
                                      <p:childTnLst>
                                        <p:set>
                                          <p:cBhvr>
                                            <p:cTn id="121" dur="1" fill="hold">
                                              <p:stCondLst>
                                                <p:cond delay="0"/>
                                              </p:stCondLst>
                                            </p:cTn>
                                            <p:tgtEl>
                                              <p:spTgt spid="57"/>
                                            </p:tgtEl>
                                            <p:attrNameLst>
                                              <p:attrName>style.visibility</p:attrName>
                                            </p:attrNameLst>
                                          </p:cBhvr>
                                          <p:to>
                                            <p:strVal val="visible"/>
                                          </p:to>
                                        </p:set>
                                        <p:animEffect transition="in" filter="fade">
                                          <p:cBhvr>
                                            <p:cTn id="122" dur="100"/>
                                            <p:tgtEl>
                                              <p:spTgt spid="57"/>
                                            </p:tgtEl>
                                          </p:cBhvr>
                                        </p:animEffect>
                                        <p:anim calcmode="lin" valueType="num">
                                          <p:cBhvr>
                                            <p:cTn id="123" dur="100" fill="hold"/>
                                            <p:tgtEl>
                                              <p:spTgt spid="57"/>
                                            </p:tgtEl>
                                            <p:attrNameLst>
                                              <p:attrName>ppt_x</p:attrName>
                                            </p:attrNameLst>
                                          </p:cBhvr>
                                          <p:tavLst>
                                            <p:tav tm="0">
                                              <p:val>
                                                <p:strVal val="#ppt_x"/>
                                              </p:val>
                                            </p:tav>
                                            <p:tav tm="100000">
                                              <p:val>
                                                <p:strVal val="#ppt_x"/>
                                              </p:val>
                                            </p:tav>
                                          </p:tavLst>
                                        </p:anim>
                                        <p:anim calcmode="lin" valueType="num">
                                          <p:cBhvr>
                                            <p:cTn id="124" dur="100" fill="hold"/>
                                            <p:tgtEl>
                                              <p:spTgt spid="57"/>
                                            </p:tgtEl>
                                            <p:attrNameLst>
                                              <p:attrName>ppt_y</p:attrName>
                                            </p:attrNameLst>
                                          </p:cBhvr>
                                          <p:tavLst>
                                            <p:tav tm="0">
                                              <p:val>
                                                <p:strVal val="#ppt_y+.1"/>
                                              </p:val>
                                            </p:tav>
                                            <p:tav tm="100000">
                                              <p:val>
                                                <p:strVal val="#ppt_y"/>
                                              </p:val>
                                            </p:tav>
                                          </p:tavLst>
                                        </p:anim>
                                      </p:childTnLst>
                                    </p:cTn>
                                  </p:par>
                                </p:childTnLst>
                              </p:cTn>
                            </p:par>
                            <p:par>
                              <p:cTn id="125" fill="hold">
                                <p:stCondLst>
                                  <p:cond delay="11500"/>
                                </p:stCondLst>
                                <p:childTnLst>
                                  <p:par>
                                    <p:cTn id="126" presetID="42" presetClass="entr" presetSubtype="0" fill="hold" grpId="0" nodeType="afterEffect">
                                      <p:stCondLst>
                                        <p:cond delay="0"/>
                                      </p:stCondLst>
                                      <p:childTnLst>
                                        <p:set>
                                          <p:cBhvr>
                                            <p:cTn id="127" dur="1" fill="hold">
                                              <p:stCondLst>
                                                <p:cond delay="0"/>
                                              </p:stCondLst>
                                            </p:cTn>
                                            <p:tgtEl>
                                              <p:spTgt spid="66"/>
                                            </p:tgtEl>
                                            <p:attrNameLst>
                                              <p:attrName>style.visibility</p:attrName>
                                            </p:attrNameLst>
                                          </p:cBhvr>
                                          <p:to>
                                            <p:strVal val="visible"/>
                                          </p:to>
                                        </p:set>
                                        <p:animEffect transition="in" filter="fade">
                                          <p:cBhvr>
                                            <p:cTn id="128" dur="100"/>
                                            <p:tgtEl>
                                              <p:spTgt spid="66"/>
                                            </p:tgtEl>
                                          </p:cBhvr>
                                        </p:animEffect>
                                        <p:anim calcmode="lin" valueType="num">
                                          <p:cBhvr>
                                            <p:cTn id="129" dur="100" fill="hold"/>
                                            <p:tgtEl>
                                              <p:spTgt spid="66"/>
                                            </p:tgtEl>
                                            <p:attrNameLst>
                                              <p:attrName>ppt_x</p:attrName>
                                            </p:attrNameLst>
                                          </p:cBhvr>
                                          <p:tavLst>
                                            <p:tav tm="0">
                                              <p:val>
                                                <p:strVal val="#ppt_x"/>
                                              </p:val>
                                            </p:tav>
                                            <p:tav tm="100000">
                                              <p:val>
                                                <p:strVal val="#ppt_x"/>
                                              </p:val>
                                            </p:tav>
                                          </p:tavLst>
                                        </p:anim>
                                        <p:anim calcmode="lin" valueType="num">
                                          <p:cBhvr>
                                            <p:cTn id="130" dur="100" fill="hold"/>
                                            <p:tgtEl>
                                              <p:spTgt spid="66"/>
                                            </p:tgtEl>
                                            <p:attrNameLst>
                                              <p:attrName>ppt_y</p:attrName>
                                            </p:attrNameLst>
                                          </p:cBhvr>
                                          <p:tavLst>
                                            <p:tav tm="0">
                                              <p:val>
                                                <p:strVal val="#ppt_y+.1"/>
                                              </p:val>
                                            </p:tav>
                                            <p:tav tm="100000">
                                              <p:val>
                                                <p:strVal val="#ppt_y"/>
                                              </p:val>
                                            </p:tav>
                                          </p:tavLst>
                                        </p:anim>
                                      </p:childTnLst>
                                    </p:cTn>
                                  </p:par>
                                </p:childTnLst>
                              </p:cTn>
                            </p:par>
                            <p:par>
                              <p:cTn id="131" fill="hold">
                                <p:stCondLst>
                                  <p:cond delay="12000"/>
                                </p:stCondLst>
                                <p:childTnLst>
                                  <p:par>
                                    <p:cTn id="132" presetID="42"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100"/>
                                            <p:tgtEl>
                                              <p:spTgt spid="58"/>
                                            </p:tgtEl>
                                          </p:cBhvr>
                                        </p:animEffect>
                                        <p:anim calcmode="lin" valueType="num">
                                          <p:cBhvr>
                                            <p:cTn id="135" dur="100" fill="hold"/>
                                            <p:tgtEl>
                                              <p:spTgt spid="58"/>
                                            </p:tgtEl>
                                            <p:attrNameLst>
                                              <p:attrName>ppt_x</p:attrName>
                                            </p:attrNameLst>
                                          </p:cBhvr>
                                          <p:tavLst>
                                            <p:tav tm="0">
                                              <p:val>
                                                <p:strVal val="#ppt_x"/>
                                              </p:val>
                                            </p:tav>
                                            <p:tav tm="100000">
                                              <p:val>
                                                <p:strVal val="#ppt_x"/>
                                              </p:val>
                                            </p:tav>
                                          </p:tavLst>
                                        </p:anim>
                                        <p:anim calcmode="lin" valueType="num">
                                          <p:cBhvr>
                                            <p:cTn id="136" dur="100" fill="hold"/>
                                            <p:tgtEl>
                                              <p:spTgt spid="58"/>
                                            </p:tgtEl>
                                            <p:attrNameLst>
                                              <p:attrName>ppt_y</p:attrName>
                                            </p:attrNameLst>
                                          </p:cBhvr>
                                          <p:tavLst>
                                            <p:tav tm="0">
                                              <p:val>
                                                <p:strVal val="#ppt_y+.1"/>
                                              </p:val>
                                            </p:tav>
                                            <p:tav tm="100000">
                                              <p:val>
                                                <p:strVal val="#ppt_y"/>
                                              </p:val>
                                            </p:tav>
                                          </p:tavLst>
                                        </p:anim>
                                      </p:childTnLst>
                                    </p:cTn>
                                  </p:par>
                                </p:childTnLst>
                              </p:cTn>
                            </p:par>
                            <p:par>
                              <p:cTn id="137" fill="hold">
                                <p:stCondLst>
                                  <p:cond delay="12500"/>
                                </p:stCondLst>
                                <p:childTnLst>
                                  <p:par>
                                    <p:cTn id="138" presetID="42" presetClass="entr" presetSubtype="0" fill="hold" grpId="0" nodeType="afterEffect">
                                      <p:stCondLst>
                                        <p:cond delay="0"/>
                                      </p:stCondLst>
                                      <p:childTnLst>
                                        <p:set>
                                          <p:cBhvr>
                                            <p:cTn id="139" dur="1" fill="hold">
                                              <p:stCondLst>
                                                <p:cond delay="0"/>
                                              </p:stCondLst>
                                            </p:cTn>
                                            <p:tgtEl>
                                              <p:spTgt spid="67"/>
                                            </p:tgtEl>
                                            <p:attrNameLst>
                                              <p:attrName>style.visibility</p:attrName>
                                            </p:attrNameLst>
                                          </p:cBhvr>
                                          <p:to>
                                            <p:strVal val="visible"/>
                                          </p:to>
                                        </p:set>
                                        <p:animEffect transition="in" filter="fade">
                                          <p:cBhvr>
                                            <p:cTn id="140" dur="100"/>
                                            <p:tgtEl>
                                              <p:spTgt spid="67"/>
                                            </p:tgtEl>
                                          </p:cBhvr>
                                        </p:animEffect>
                                        <p:anim calcmode="lin" valueType="num">
                                          <p:cBhvr>
                                            <p:cTn id="141" dur="100" fill="hold"/>
                                            <p:tgtEl>
                                              <p:spTgt spid="67"/>
                                            </p:tgtEl>
                                            <p:attrNameLst>
                                              <p:attrName>ppt_x</p:attrName>
                                            </p:attrNameLst>
                                          </p:cBhvr>
                                          <p:tavLst>
                                            <p:tav tm="0">
                                              <p:val>
                                                <p:strVal val="#ppt_x"/>
                                              </p:val>
                                            </p:tav>
                                            <p:tav tm="100000">
                                              <p:val>
                                                <p:strVal val="#ppt_x"/>
                                              </p:val>
                                            </p:tav>
                                          </p:tavLst>
                                        </p:anim>
                                        <p:anim calcmode="lin" valueType="num">
                                          <p:cBhvr>
                                            <p:cTn id="142" dur="100" fill="hold"/>
                                            <p:tgtEl>
                                              <p:spTgt spid="67"/>
                                            </p:tgtEl>
                                            <p:attrNameLst>
                                              <p:attrName>ppt_y</p:attrName>
                                            </p:attrNameLst>
                                          </p:cBhvr>
                                          <p:tavLst>
                                            <p:tav tm="0">
                                              <p:val>
                                                <p:strVal val="#ppt_y+.1"/>
                                              </p:val>
                                            </p:tav>
                                            <p:tav tm="100000">
                                              <p:val>
                                                <p:strVal val="#ppt_y"/>
                                              </p:val>
                                            </p:tav>
                                          </p:tavLst>
                                        </p:anim>
                                      </p:childTnLst>
                                    </p:cTn>
                                  </p:par>
                                </p:childTnLst>
                              </p:cTn>
                            </p:par>
                            <p:par>
                              <p:cTn id="143" fill="hold">
                                <p:stCondLst>
                                  <p:cond delay="13000"/>
                                </p:stCondLst>
                                <p:childTnLst>
                                  <p:par>
                                    <p:cTn id="144" presetID="42" presetClass="entr" presetSubtype="0" fill="hold" grpId="0" nodeType="afterEffect">
                                      <p:stCondLst>
                                        <p:cond delay="0"/>
                                      </p:stCondLst>
                                      <p:childTnLst>
                                        <p:set>
                                          <p:cBhvr>
                                            <p:cTn id="145" dur="1" fill="hold">
                                              <p:stCondLst>
                                                <p:cond delay="0"/>
                                              </p:stCondLst>
                                            </p:cTn>
                                            <p:tgtEl>
                                              <p:spTgt spid="59"/>
                                            </p:tgtEl>
                                            <p:attrNameLst>
                                              <p:attrName>style.visibility</p:attrName>
                                            </p:attrNameLst>
                                          </p:cBhvr>
                                          <p:to>
                                            <p:strVal val="visible"/>
                                          </p:to>
                                        </p:set>
                                        <p:animEffect transition="in" filter="fade">
                                          <p:cBhvr>
                                            <p:cTn id="146" dur="100"/>
                                            <p:tgtEl>
                                              <p:spTgt spid="59"/>
                                            </p:tgtEl>
                                          </p:cBhvr>
                                        </p:animEffect>
                                        <p:anim calcmode="lin" valueType="num">
                                          <p:cBhvr>
                                            <p:cTn id="147" dur="100" fill="hold"/>
                                            <p:tgtEl>
                                              <p:spTgt spid="59"/>
                                            </p:tgtEl>
                                            <p:attrNameLst>
                                              <p:attrName>ppt_x</p:attrName>
                                            </p:attrNameLst>
                                          </p:cBhvr>
                                          <p:tavLst>
                                            <p:tav tm="0">
                                              <p:val>
                                                <p:strVal val="#ppt_x"/>
                                              </p:val>
                                            </p:tav>
                                            <p:tav tm="100000">
                                              <p:val>
                                                <p:strVal val="#ppt_x"/>
                                              </p:val>
                                            </p:tav>
                                          </p:tavLst>
                                        </p:anim>
                                        <p:anim calcmode="lin" valueType="num">
                                          <p:cBhvr>
                                            <p:cTn id="148" dur="100" fill="hold"/>
                                            <p:tgtEl>
                                              <p:spTgt spid="59"/>
                                            </p:tgtEl>
                                            <p:attrNameLst>
                                              <p:attrName>ppt_y</p:attrName>
                                            </p:attrNameLst>
                                          </p:cBhvr>
                                          <p:tavLst>
                                            <p:tav tm="0">
                                              <p:val>
                                                <p:strVal val="#ppt_y+.1"/>
                                              </p:val>
                                            </p:tav>
                                            <p:tav tm="100000">
                                              <p:val>
                                                <p:strVal val="#ppt_y"/>
                                              </p:val>
                                            </p:tav>
                                          </p:tavLst>
                                        </p:anim>
                                      </p:childTnLst>
                                    </p:cTn>
                                  </p:par>
                                </p:childTnLst>
                              </p:cTn>
                            </p:par>
                            <p:par>
                              <p:cTn id="149" fill="hold">
                                <p:stCondLst>
                                  <p:cond delay="13500"/>
                                </p:stCondLst>
                                <p:childTnLst>
                                  <p:par>
                                    <p:cTn id="150" presetID="42" presetClass="entr" presetSubtype="0" fill="hold" grpId="0" nodeType="afterEffect">
                                      <p:stCondLst>
                                        <p:cond delay="0"/>
                                      </p:stCondLst>
                                      <p:childTnLst>
                                        <p:set>
                                          <p:cBhvr>
                                            <p:cTn id="151" dur="1" fill="hold">
                                              <p:stCondLst>
                                                <p:cond delay="0"/>
                                              </p:stCondLst>
                                            </p:cTn>
                                            <p:tgtEl>
                                              <p:spTgt spid="68"/>
                                            </p:tgtEl>
                                            <p:attrNameLst>
                                              <p:attrName>style.visibility</p:attrName>
                                            </p:attrNameLst>
                                          </p:cBhvr>
                                          <p:to>
                                            <p:strVal val="visible"/>
                                          </p:to>
                                        </p:set>
                                        <p:animEffect transition="in" filter="fade">
                                          <p:cBhvr>
                                            <p:cTn id="152" dur="100"/>
                                            <p:tgtEl>
                                              <p:spTgt spid="68"/>
                                            </p:tgtEl>
                                          </p:cBhvr>
                                        </p:animEffect>
                                        <p:anim calcmode="lin" valueType="num">
                                          <p:cBhvr>
                                            <p:cTn id="153" dur="100" fill="hold"/>
                                            <p:tgtEl>
                                              <p:spTgt spid="68"/>
                                            </p:tgtEl>
                                            <p:attrNameLst>
                                              <p:attrName>ppt_x</p:attrName>
                                            </p:attrNameLst>
                                          </p:cBhvr>
                                          <p:tavLst>
                                            <p:tav tm="0">
                                              <p:val>
                                                <p:strVal val="#ppt_x"/>
                                              </p:val>
                                            </p:tav>
                                            <p:tav tm="100000">
                                              <p:val>
                                                <p:strVal val="#ppt_x"/>
                                              </p:val>
                                            </p:tav>
                                          </p:tavLst>
                                        </p:anim>
                                        <p:anim calcmode="lin" valueType="num">
                                          <p:cBhvr>
                                            <p:cTn id="154" dur="100" fill="hold"/>
                                            <p:tgtEl>
                                              <p:spTgt spid="68"/>
                                            </p:tgtEl>
                                            <p:attrNameLst>
                                              <p:attrName>ppt_y</p:attrName>
                                            </p:attrNameLst>
                                          </p:cBhvr>
                                          <p:tavLst>
                                            <p:tav tm="0">
                                              <p:val>
                                                <p:strVal val="#ppt_y+.1"/>
                                              </p:val>
                                            </p:tav>
                                            <p:tav tm="100000">
                                              <p:val>
                                                <p:strVal val="#ppt_y"/>
                                              </p:val>
                                            </p:tav>
                                          </p:tavLst>
                                        </p:anim>
                                      </p:childTnLst>
                                    </p:cTn>
                                  </p:par>
                                </p:childTnLst>
                              </p:cTn>
                            </p:par>
                            <p:par>
                              <p:cTn id="155" fill="hold">
                                <p:stCondLst>
                                  <p:cond delay="14000"/>
                                </p:stCondLst>
                                <p:childTnLst>
                                  <p:par>
                                    <p:cTn id="156" presetID="42" presetClass="entr" presetSubtype="0" fill="hold" grpId="0" nodeType="after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
                                            <p:tgtEl>
                                              <p:spTgt spid="60"/>
                                            </p:tgtEl>
                                          </p:cBhvr>
                                        </p:animEffect>
                                        <p:anim calcmode="lin" valueType="num">
                                          <p:cBhvr>
                                            <p:cTn id="159" dur="100" fill="hold"/>
                                            <p:tgtEl>
                                              <p:spTgt spid="60"/>
                                            </p:tgtEl>
                                            <p:attrNameLst>
                                              <p:attrName>ppt_x</p:attrName>
                                            </p:attrNameLst>
                                          </p:cBhvr>
                                          <p:tavLst>
                                            <p:tav tm="0">
                                              <p:val>
                                                <p:strVal val="#ppt_x"/>
                                              </p:val>
                                            </p:tav>
                                            <p:tav tm="100000">
                                              <p:val>
                                                <p:strVal val="#ppt_x"/>
                                              </p:val>
                                            </p:tav>
                                          </p:tavLst>
                                        </p:anim>
                                        <p:anim calcmode="lin" valueType="num">
                                          <p:cBhvr>
                                            <p:cTn id="160" dur="100" fill="hold"/>
                                            <p:tgtEl>
                                              <p:spTgt spid="60"/>
                                            </p:tgtEl>
                                            <p:attrNameLst>
                                              <p:attrName>ppt_y</p:attrName>
                                            </p:attrNameLst>
                                          </p:cBhvr>
                                          <p:tavLst>
                                            <p:tav tm="0">
                                              <p:val>
                                                <p:strVal val="#ppt_y+.1"/>
                                              </p:val>
                                            </p:tav>
                                            <p:tav tm="100000">
                                              <p:val>
                                                <p:strVal val="#ppt_y"/>
                                              </p:val>
                                            </p:tav>
                                          </p:tavLst>
                                        </p:anim>
                                      </p:childTnLst>
                                    </p:cTn>
                                  </p:par>
                                </p:childTnLst>
                              </p:cTn>
                            </p:par>
                            <p:par>
                              <p:cTn id="161" fill="hold">
                                <p:stCondLst>
                                  <p:cond delay="14500"/>
                                </p:stCondLst>
                                <p:childTnLst>
                                  <p:par>
                                    <p:cTn id="162" presetID="42" presetClass="entr" presetSubtype="0" fill="hold" grpId="0" nodeType="afterEffect">
                                      <p:stCondLst>
                                        <p:cond delay="0"/>
                                      </p:stCondLst>
                                      <p:childTnLst>
                                        <p:set>
                                          <p:cBhvr>
                                            <p:cTn id="163" dur="1" fill="hold">
                                              <p:stCondLst>
                                                <p:cond delay="0"/>
                                              </p:stCondLst>
                                            </p:cTn>
                                            <p:tgtEl>
                                              <p:spTgt spid="69"/>
                                            </p:tgtEl>
                                            <p:attrNameLst>
                                              <p:attrName>style.visibility</p:attrName>
                                            </p:attrNameLst>
                                          </p:cBhvr>
                                          <p:to>
                                            <p:strVal val="visible"/>
                                          </p:to>
                                        </p:set>
                                        <p:animEffect transition="in" filter="fade">
                                          <p:cBhvr>
                                            <p:cTn id="164" dur="100"/>
                                            <p:tgtEl>
                                              <p:spTgt spid="69"/>
                                            </p:tgtEl>
                                          </p:cBhvr>
                                        </p:animEffect>
                                        <p:anim calcmode="lin" valueType="num">
                                          <p:cBhvr>
                                            <p:cTn id="165" dur="100" fill="hold"/>
                                            <p:tgtEl>
                                              <p:spTgt spid="69"/>
                                            </p:tgtEl>
                                            <p:attrNameLst>
                                              <p:attrName>ppt_x</p:attrName>
                                            </p:attrNameLst>
                                          </p:cBhvr>
                                          <p:tavLst>
                                            <p:tav tm="0">
                                              <p:val>
                                                <p:strVal val="#ppt_x"/>
                                              </p:val>
                                            </p:tav>
                                            <p:tav tm="100000">
                                              <p:val>
                                                <p:strVal val="#ppt_x"/>
                                              </p:val>
                                            </p:tav>
                                          </p:tavLst>
                                        </p:anim>
                                        <p:anim calcmode="lin" valueType="num">
                                          <p:cBhvr>
                                            <p:cTn id="166" dur="100" fill="hold"/>
                                            <p:tgtEl>
                                              <p:spTgt spid="69"/>
                                            </p:tgtEl>
                                            <p:attrNameLst>
                                              <p:attrName>ppt_y</p:attrName>
                                            </p:attrNameLst>
                                          </p:cBhvr>
                                          <p:tavLst>
                                            <p:tav tm="0">
                                              <p:val>
                                                <p:strVal val="#ppt_y+.1"/>
                                              </p:val>
                                            </p:tav>
                                            <p:tav tm="100000">
                                              <p:val>
                                                <p:strVal val="#ppt_y"/>
                                              </p:val>
                                            </p:tav>
                                          </p:tavLst>
                                        </p:anim>
                                      </p:childTnLst>
                                    </p:cTn>
                                  </p:par>
                                </p:childTnLst>
                              </p:cTn>
                            </p:par>
                            <p:par>
                              <p:cTn id="167" fill="hold">
                                <p:stCondLst>
                                  <p:cond delay="15000"/>
                                </p:stCondLst>
                                <p:childTnLst>
                                  <p:par>
                                    <p:cTn id="168" presetID="42" presetClass="entr" presetSubtype="0" fill="hold" grpId="0" nodeType="afterEffect">
                                      <p:stCondLst>
                                        <p:cond delay="0"/>
                                      </p:stCondLst>
                                      <p:childTnLst>
                                        <p:set>
                                          <p:cBhvr>
                                            <p:cTn id="169" dur="1" fill="hold">
                                              <p:stCondLst>
                                                <p:cond delay="0"/>
                                              </p:stCondLst>
                                            </p:cTn>
                                            <p:tgtEl>
                                              <p:spTgt spid="61"/>
                                            </p:tgtEl>
                                            <p:attrNameLst>
                                              <p:attrName>style.visibility</p:attrName>
                                            </p:attrNameLst>
                                          </p:cBhvr>
                                          <p:to>
                                            <p:strVal val="visible"/>
                                          </p:to>
                                        </p:set>
                                        <p:animEffect transition="in" filter="fade">
                                          <p:cBhvr>
                                            <p:cTn id="170" dur="100"/>
                                            <p:tgtEl>
                                              <p:spTgt spid="61"/>
                                            </p:tgtEl>
                                          </p:cBhvr>
                                        </p:animEffect>
                                        <p:anim calcmode="lin" valueType="num">
                                          <p:cBhvr>
                                            <p:cTn id="171" dur="100" fill="hold"/>
                                            <p:tgtEl>
                                              <p:spTgt spid="61"/>
                                            </p:tgtEl>
                                            <p:attrNameLst>
                                              <p:attrName>ppt_x</p:attrName>
                                            </p:attrNameLst>
                                          </p:cBhvr>
                                          <p:tavLst>
                                            <p:tav tm="0">
                                              <p:val>
                                                <p:strVal val="#ppt_x"/>
                                              </p:val>
                                            </p:tav>
                                            <p:tav tm="100000">
                                              <p:val>
                                                <p:strVal val="#ppt_x"/>
                                              </p:val>
                                            </p:tav>
                                          </p:tavLst>
                                        </p:anim>
                                        <p:anim calcmode="lin" valueType="num">
                                          <p:cBhvr>
                                            <p:cTn id="172" dur="100" fill="hold"/>
                                            <p:tgtEl>
                                              <p:spTgt spid="61"/>
                                            </p:tgtEl>
                                            <p:attrNameLst>
                                              <p:attrName>ppt_y</p:attrName>
                                            </p:attrNameLst>
                                          </p:cBhvr>
                                          <p:tavLst>
                                            <p:tav tm="0">
                                              <p:val>
                                                <p:strVal val="#ppt_y+.1"/>
                                              </p:val>
                                            </p:tav>
                                            <p:tav tm="100000">
                                              <p:val>
                                                <p:strVal val="#ppt_y"/>
                                              </p:val>
                                            </p:tav>
                                          </p:tavLst>
                                        </p:anim>
                                      </p:childTnLst>
                                    </p:cTn>
                                  </p:par>
                                </p:childTnLst>
                              </p:cTn>
                            </p:par>
                            <p:par>
                              <p:cTn id="173" fill="hold">
                                <p:stCondLst>
                                  <p:cond delay="15500"/>
                                </p:stCondLst>
                                <p:childTnLst>
                                  <p:par>
                                    <p:cTn id="174" presetID="42" presetClass="entr" presetSubtype="0" fill="hold" grpId="0" nodeType="afterEffect">
                                      <p:stCondLst>
                                        <p:cond delay="0"/>
                                      </p:stCondLst>
                                      <p:childTnLst>
                                        <p:set>
                                          <p:cBhvr>
                                            <p:cTn id="175" dur="1" fill="hold">
                                              <p:stCondLst>
                                                <p:cond delay="0"/>
                                              </p:stCondLst>
                                            </p:cTn>
                                            <p:tgtEl>
                                              <p:spTgt spid="70"/>
                                            </p:tgtEl>
                                            <p:attrNameLst>
                                              <p:attrName>style.visibility</p:attrName>
                                            </p:attrNameLst>
                                          </p:cBhvr>
                                          <p:to>
                                            <p:strVal val="visible"/>
                                          </p:to>
                                        </p:set>
                                        <p:animEffect transition="in" filter="fade">
                                          <p:cBhvr>
                                            <p:cTn id="176" dur="100"/>
                                            <p:tgtEl>
                                              <p:spTgt spid="70"/>
                                            </p:tgtEl>
                                          </p:cBhvr>
                                        </p:animEffect>
                                        <p:anim calcmode="lin" valueType="num">
                                          <p:cBhvr>
                                            <p:cTn id="177" dur="100" fill="hold"/>
                                            <p:tgtEl>
                                              <p:spTgt spid="70"/>
                                            </p:tgtEl>
                                            <p:attrNameLst>
                                              <p:attrName>ppt_x</p:attrName>
                                            </p:attrNameLst>
                                          </p:cBhvr>
                                          <p:tavLst>
                                            <p:tav tm="0">
                                              <p:val>
                                                <p:strVal val="#ppt_x"/>
                                              </p:val>
                                            </p:tav>
                                            <p:tav tm="100000">
                                              <p:val>
                                                <p:strVal val="#ppt_x"/>
                                              </p:val>
                                            </p:tav>
                                          </p:tavLst>
                                        </p:anim>
                                        <p:anim calcmode="lin" valueType="num">
                                          <p:cBhvr>
                                            <p:cTn id="178" dur="100" fill="hold"/>
                                            <p:tgtEl>
                                              <p:spTgt spid="70"/>
                                            </p:tgtEl>
                                            <p:attrNameLst>
                                              <p:attrName>ppt_y</p:attrName>
                                            </p:attrNameLst>
                                          </p:cBhvr>
                                          <p:tavLst>
                                            <p:tav tm="0">
                                              <p:val>
                                                <p:strVal val="#ppt_y+.1"/>
                                              </p:val>
                                            </p:tav>
                                            <p:tav tm="100000">
                                              <p:val>
                                                <p:strVal val="#ppt_y"/>
                                              </p:val>
                                            </p:tav>
                                          </p:tavLst>
                                        </p:anim>
                                      </p:childTnLst>
                                    </p:cTn>
                                  </p:par>
                                </p:childTnLst>
                              </p:cTn>
                            </p:par>
                            <p:par>
                              <p:cTn id="179" fill="hold">
                                <p:stCondLst>
                                  <p:cond delay="16000"/>
                                </p:stCondLst>
                                <p:childTnLst>
                                  <p:par>
                                    <p:cTn id="180" presetID="42" presetClass="entr" presetSubtype="0" fill="hold" grpId="0" nodeType="afterEffect">
                                      <p:stCondLst>
                                        <p:cond delay="0"/>
                                      </p:stCondLst>
                                      <p:childTnLst>
                                        <p:set>
                                          <p:cBhvr>
                                            <p:cTn id="181" dur="1" fill="hold">
                                              <p:stCondLst>
                                                <p:cond delay="0"/>
                                              </p:stCondLst>
                                            </p:cTn>
                                            <p:tgtEl>
                                              <p:spTgt spid="62"/>
                                            </p:tgtEl>
                                            <p:attrNameLst>
                                              <p:attrName>style.visibility</p:attrName>
                                            </p:attrNameLst>
                                          </p:cBhvr>
                                          <p:to>
                                            <p:strVal val="visible"/>
                                          </p:to>
                                        </p:set>
                                        <p:animEffect transition="in" filter="fade">
                                          <p:cBhvr>
                                            <p:cTn id="182" dur="100"/>
                                            <p:tgtEl>
                                              <p:spTgt spid="62"/>
                                            </p:tgtEl>
                                          </p:cBhvr>
                                        </p:animEffect>
                                        <p:anim calcmode="lin" valueType="num">
                                          <p:cBhvr>
                                            <p:cTn id="183" dur="100" fill="hold"/>
                                            <p:tgtEl>
                                              <p:spTgt spid="62"/>
                                            </p:tgtEl>
                                            <p:attrNameLst>
                                              <p:attrName>ppt_x</p:attrName>
                                            </p:attrNameLst>
                                          </p:cBhvr>
                                          <p:tavLst>
                                            <p:tav tm="0">
                                              <p:val>
                                                <p:strVal val="#ppt_x"/>
                                              </p:val>
                                            </p:tav>
                                            <p:tav tm="100000">
                                              <p:val>
                                                <p:strVal val="#ppt_x"/>
                                              </p:val>
                                            </p:tav>
                                          </p:tavLst>
                                        </p:anim>
                                        <p:anim calcmode="lin" valueType="num">
                                          <p:cBhvr>
                                            <p:cTn id="184" dur="100" fill="hold"/>
                                            <p:tgtEl>
                                              <p:spTgt spid="62"/>
                                            </p:tgtEl>
                                            <p:attrNameLst>
                                              <p:attrName>ppt_y</p:attrName>
                                            </p:attrNameLst>
                                          </p:cBhvr>
                                          <p:tavLst>
                                            <p:tav tm="0">
                                              <p:val>
                                                <p:strVal val="#ppt_y+.1"/>
                                              </p:val>
                                            </p:tav>
                                            <p:tav tm="100000">
                                              <p:val>
                                                <p:strVal val="#ppt_y"/>
                                              </p:val>
                                            </p:tav>
                                          </p:tavLst>
                                        </p:anim>
                                      </p:childTnLst>
                                    </p:cTn>
                                  </p:par>
                                </p:childTnLst>
                              </p:cTn>
                            </p:par>
                            <p:par>
                              <p:cTn id="185" fill="hold">
                                <p:stCondLst>
                                  <p:cond delay="16500"/>
                                </p:stCondLst>
                                <p:childTnLst>
                                  <p:par>
                                    <p:cTn id="186" presetID="42" presetClass="entr" presetSubtype="0" fill="hold" grpId="0" nodeType="afterEffect">
                                      <p:stCondLst>
                                        <p:cond delay="0"/>
                                      </p:stCondLst>
                                      <p:childTnLst>
                                        <p:set>
                                          <p:cBhvr>
                                            <p:cTn id="187" dur="1" fill="hold">
                                              <p:stCondLst>
                                                <p:cond delay="0"/>
                                              </p:stCondLst>
                                            </p:cTn>
                                            <p:tgtEl>
                                              <p:spTgt spid="71"/>
                                            </p:tgtEl>
                                            <p:attrNameLst>
                                              <p:attrName>style.visibility</p:attrName>
                                            </p:attrNameLst>
                                          </p:cBhvr>
                                          <p:to>
                                            <p:strVal val="visible"/>
                                          </p:to>
                                        </p:set>
                                        <p:animEffect transition="in" filter="fade">
                                          <p:cBhvr>
                                            <p:cTn id="188" dur="100"/>
                                            <p:tgtEl>
                                              <p:spTgt spid="71"/>
                                            </p:tgtEl>
                                          </p:cBhvr>
                                        </p:animEffect>
                                        <p:anim calcmode="lin" valueType="num">
                                          <p:cBhvr>
                                            <p:cTn id="189" dur="100" fill="hold"/>
                                            <p:tgtEl>
                                              <p:spTgt spid="71"/>
                                            </p:tgtEl>
                                            <p:attrNameLst>
                                              <p:attrName>ppt_x</p:attrName>
                                            </p:attrNameLst>
                                          </p:cBhvr>
                                          <p:tavLst>
                                            <p:tav tm="0">
                                              <p:val>
                                                <p:strVal val="#ppt_x"/>
                                              </p:val>
                                            </p:tav>
                                            <p:tav tm="100000">
                                              <p:val>
                                                <p:strVal val="#ppt_x"/>
                                              </p:val>
                                            </p:tav>
                                          </p:tavLst>
                                        </p:anim>
                                        <p:anim calcmode="lin" valueType="num">
                                          <p:cBhvr>
                                            <p:cTn id="190" dur="100" fill="hold"/>
                                            <p:tgtEl>
                                              <p:spTgt spid="71"/>
                                            </p:tgtEl>
                                            <p:attrNameLst>
                                              <p:attrName>ppt_y</p:attrName>
                                            </p:attrNameLst>
                                          </p:cBhvr>
                                          <p:tavLst>
                                            <p:tav tm="0">
                                              <p:val>
                                                <p:strVal val="#ppt_y+.1"/>
                                              </p:val>
                                            </p:tav>
                                            <p:tav tm="100000">
                                              <p:val>
                                                <p:strVal val="#ppt_y"/>
                                              </p:val>
                                            </p:tav>
                                          </p:tavLst>
                                        </p:anim>
                                      </p:childTnLst>
                                    </p:cTn>
                                  </p:par>
                                </p:childTnLst>
                              </p:cTn>
                            </p:par>
                            <p:par>
                              <p:cTn id="191" fill="hold">
                                <p:stCondLst>
                                  <p:cond delay="17000"/>
                                </p:stCondLst>
                                <p:childTnLst>
                                  <p:par>
                                    <p:cTn id="192" presetID="2" presetClass="entr" presetSubtype="2" fill="hold" grpId="0" nodeType="afterEffect" p14:presetBounceEnd="76000">
                                      <p:stCondLst>
                                        <p:cond delay="0"/>
                                      </p:stCondLst>
                                      <p:childTnLst>
                                        <p:set>
                                          <p:cBhvr>
                                            <p:cTn id="193" dur="1" fill="hold">
                                              <p:stCondLst>
                                                <p:cond delay="0"/>
                                              </p:stCondLst>
                                            </p:cTn>
                                            <p:tgtEl>
                                              <p:spTgt spid="87"/>
                                            </p:tgtEl>
                                            <p:attrNameLst>
                                              <p:attrName>style.visibility</p:attrName>
                                            </p:attrNameLst>
                                          </p:cBhvr>
                                          <p:to>
                                            <p:strVal val="visible"/>
                                          </p:to>
                                        </p:set>
                                        <p:anim calcmode="lin" valueType="num" p14:bounceEnd="76000">
                                          <p:cBhvr additive="base">
                                            <p:cTn id="194" dur="300" fill="hold"/>
                                            <p:tgtEl>
                                              <p:spTgt spid="87"/>
                                            </p:tgtEl>
                                            <p:attrNameLst>
                                              <p:attrName>ppt_x</p:attrName>
                                            </p:attrNameLst>
                                          </p:cBhvr>
                                          <p:tavLst>
                                            <p:tav tm="0">
                                              <p:val>
                                                <p:strVal val="1+#ppt_w/2"/>
                                              </p:val>
                                            </p:tav>
                                            <p:tav tm="100000">
                                              <p:val>
                                                <p:strVal val="#ppt_x"/>
                                              </p:val>
                                            </p:tav>
                                          </p:tavLst>
                                        </p:anim>
                                        <p:anim calcmode="lin" valueType="num" p14:bounceEnd="76000">
                                          <p:cBhvr additive="base">
                                            <p:cTn id="195" dur="300" fill="hold"/>
                                            <p:tgtEl>
                                              <p:spTgt spid="8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cBhvr additive="base">
                                            <p:cTn id="11" dur="100" fill="hold"/>
                                            <p:tgtEl>
                                              <p:spTgt spid="72"/>
                                            </p:tgtEl>
                                            <p:attrNameLst>
                                              <p:attrName>ppt_x</p:attrName>
                                            </p:attrNameLst>
                                          </p:cBhvr>
                                          <p:tavLst>
                                            <p:tav tm="0">
                                              <p:val>
                                                <p:strVal val="#ppt_x"/>
                                              </p:val>
                                            </p:tav>
                                            <p:tav tm="100000">
                                              <p:val>
                                                <p:strVal val="#ppt_x"/>
                                              </p:val>
                                            </p:tav>
                                          </p:tavLst>
                                        </p:anim>
                                        <p:anim calcmode="lin" valueType="num">
                                          <p:cBhvr additive="base">
                                            <p:cTn id="12" dur="100" fill="hold"/>
                                            <p:tgtEl>
                                              <p:spTgt spid="72"/>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grpId="0" nodeType="afterEffect">
                                      <p:stCondLst>
                                        <p:cond delay="0"/>
                                      </p:stCondLst>
                                      <p:childTnLst>
                                        <p:set>
                                          <p:cBhvr>
                                            <p:cTn id="15" dur="1" fill="hold">
                                              <p:stCondLst>
                                                <p:cond delay="0"/>
                                              </p:stCondLst>
                                            </p:cTn>
                                            <p:tgtEl>
                                              <p:spTgt spid="73"/>
                                            </p:tgtEl>
                                            <p:attrNameLst>
                                              <p:attrName>style.visibility</p:attrName>
                                            </p:attrNameLst>
                                          </p:cBhvr>
                                          <p:to>
                                            <p:strVal val="visible"/>
                                          </p:to>
                                        </p:set>
                                        <p:anim calcmode="lin" valueType="num">
                                          <p:cBhvr additive="base">
                                            <p:cTn id="16" dur="100" fill="hold"/>
                                            <p:tgtEl>
                                              <p:spTgt spid="73"/>
                                            </p:tgtEl>
                                            <p:attrNameLst>
                                              <p:attrName>ppt_x</p:attrName>
                                            </p:attrNameLst>
                                          </p:cBhvr>
                                          <p:tavLst>
                                            <p:tav tm="0">
                                              <p:val>
                                                <p:strVal val="#ppt_x"/>
                                              </p:val>
                                            </p:tav>
                                            <p:tav tm="100000">
                                              <p:val>
                                                <p:strVal val="#ppt_x"/>
                                              </p:val>
                                            </p:tav>
                                          </p:tavLst>
                                        </p:anim>
                                        <p:anim calcmode="lin" valueType="num">
                                          <p:cBhvr additive="base">
                                            <p:cTn id="17" dur="100" fill="hold"/>
                                            <p:tgtEl>
                                              <p:spTgt spid="73"/>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cBhvr additive="base">
                                            <p:cTn id="21" dur="100" fill="hold"/>
                                            <p:tgtEl>
                                              <p:spTgt spid="74"/>
                                            </p:tgtEl>
                                            <p:attrNameLst>
                                              <p:attrName>ppt_x</p:attrName>
                                            </p:attrNameLst>
                                          </p:cBhvr>
                                          <p:tavLst>
                                            <p:tav tm="0">
                                              <p:val>
                                                <p:strVal val="#ppt_x"/>
                                              </p:val>
                                            </p:tav>
                                            <p:tav tm="100000">
                                              <p:val>
                                                <p:strVal val="#ppt_x"/>
                                              </p:val>
                                            </p:tav>
                                          </p:tavLst>
                                        </p:anim>
                                        <p:anim calcmode="lin" valueType="num">
                                          <p:cBhvr additive="base">
                                            <p:cTn id="22" dur="100" fill="hold"/>
                                            <p:tgtEl>
                                              <p:spTgt spid="74"/>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2" presetClass="entr" presetSubtype="4" fill="hold" grpId="0" nodeType="afterEffect">
                                      <p:stCondLst>
                                        <p:cond delay="0"/>
                                      </p:stCondLst>
                                      <p:childTnLst>
                                        <p:set>
                                          <p:cBhvr>
                                            <p:cTn id="25" dur="1" fill="hold">
                                              <p:stCondLst>
                                                <p:cond delay="0"/>
                                              </p:stCondLst>
                                            </p:cTn>
                                            <p:tgtEl>
                                              <p:spTgt spid="75"/>
                                            </p:tgtEl>
                                            <p:attrNameLst>
                                              <p:attrName>style.visibility</p:attrName>
                                            </p:attrNameLst>
                                          </p:cBhvr>
                                          <p:to>
                                            <p:strVal val="visible"/>
                                          </p:to>
                                        </p:set>
                                        <p:anim calcmode="lin" valueType="num">
                                          <p:cBhvr additive="base">
                                            <p:cTn id="26" dur="100" fill="hold"/>
                                            <p:tgtEl>
                                              <p:spTgt spid="75"/>
                                            </p:tgtEl>
                                            <p:attrNameLst>
                                              <p:attrName>ppt_x</p:attrName>
                                            </p:attrNameLst>
                                          </p:cBhvr>
                                          <p:tavLst>
                                            <p:tav tm="0">
                                              <p:val>
                                                <p:strVal val="#ppt_x"/>
                                              </p:val>
                                            </p:tav>
                                            <p:tav tm="100000">
                                              <p:val>
                                                <p:strVal val="#ppt_x"/>
                                              </p:val>
                                            </p:tav>
                                          </p:tavLst>
                                        </p:anim>
                                        <p:anim calcmode="lin" valueType="num">
                                          <p:cBhvr additive="base">
                                            <p:cTn id="27" dur="1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2500"/>
                                </p:stCondLst>
                                <p:childTnLst>
                                  <p:par>
                                    <p:cTn id="29" presetID="2" presetClass="entr" presetSubtype="4" fill="hold" grpId="0" nodeType="afterEffect">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cBhvr additive="base">
                                            <p:cTn id="31" dur="100" fill="hold"/>
                                            <p:tgtEl>
                                              <p:spTgt spid="76"/>
                                            </p:tgtEl>
                                            <p:attrNameLst>
                                              <p:attrName>ppt_x</p:attrName>
                                            </p:attrNameLst>
                                          </p:cBhvr>
                                          <p:tavLst>
                                            <p:tav tm="0">
                                              <p:val>
                                                <p:strVal val="#ppt_x"/>
                                              </p:val>
                                            </p:tav>
                                            <p:tav tm="100000">
                                              <p:val>
                                                <p:strVal val="#ppt_x"/>
                                              </p:val>
                                            </p:tav>
                                          </p:tavLst>
                                        </p:anim>
                                        <p:anim calcmode="lin" valueType="num">
                                          <p:cBhvr additive="base">
                                            <p:cTn id="32" dur="100" fill="hold"/>
                                            <p:tgtEl>
                                              <p:spTgt spid="76"/>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2" presetClass="entr" presetSubtype="4" fill="hold" grpId="0" nodeType="after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additive="base">
                                            <p:cTn id="36" dur="100" fill="hold"/>
                                            <p:tgtEl>
                                              <p:spTgt spid="77"/>
                                            </p:tgtEl>
                                            <p:attrNameLst>
                                              <p:attrName>ppt_x</p:attrName>
                                            </p:attrNameLst>
                                          </p:cBhvr>
                                          <p:tavLst>
                                            <p:tav tm="0">
                                              <p:val>
                                                <p:strVal val="#ppt_x"/>
                                              </p:val>
                                            </p:tav>
                                            <p:tav tm="100000">
                                              <p:val>
                                                <p:strVal val="#ppt_x"/>
                                              </p:val>
                                            </p:tav>
                                          </p:tavLst>
                                        </p:anim>
                                        <p:anim calcmode="lin" valueType="num">
                                          <p:cBhvr additive="base">
                                            <p:cTn id="37" dur="100" fill="hold"/>
                                            <p:tgtEl>
                                              <p:spTgt spid="77"/>
                                            </p:tgtEl>
                                            <p:attrNameLst>
                                              <p:attrName>ppt_y</p:attrName>
                                            </p:attrNameLst>
                                          </p:cBhvr>
                                          <p:tavLst>
                                            <p:tav tm="0">
                                              <p:val>
                                                <p:strVal val="1+#ppt_h/2"/>
                                              </p:val>
                                            </p:tav>
                                            <p:tav tm="100000">
                                              <p:val>
                                                <p:strVal val="#ppt_y"/>
                                              </p:val>
                                            </p:tav>
                                          </p:tavLst>
                                        </p:anim>
                                      </p:childTnLst>
                                    </p:cTn>
                                  </p:par>
                                </p:childTnLst>
                              </p:cTn>
                            </p:par>
                            <p:par>
                              <p:cTn id="38" fill="hold">
                                <p:stCondLst>
                                  <p:cond delay="3500"/>
                                </p:stCondLst>
                                <p:childTnLst>
                                  <p:par>
                                    <p:cTn id="39" presetID="2" presetClass="entr" presetSubtype="8" fill="hold" grpId="0" nodeType="afterEffect">
                                      <p:stCondLst>
                                        <p:cond delay="0"/>
                                      </p:stCondLst>
                                      <p:childTnLst>
                                        <p:set>
                                          <p:cBhvr>
                                            <p:cTn id="40" dur="1" fill="hold">
                                              <p:stCondLst>
                                                <p:cond delay="0"/>
                                              </p:stCondLst>
                                            </p:cTn>
                                            <p:tgtEl>
                                              <p:spTgt spid="79"/>
                                            </p:tgtEl>
                                            <p:attrNameLst>
                                              <p:attrName>style.visibility</p:attrName>
                                            </p:attrNameLst>
                                          </p:cBhvr>
                                          <p:to>
                                            <p:strVal val="visible"/>
                                          </p:to>
                                        </p:set>
                                        <p:anim calcmode="lin" valueType="num">
                                          <p:cBhvr additive="base">
                                            <p:cTn id="41" dur="100" fill="hold"/>
                                            <p:tgtEl>
                                              <p:spTgt spid="79"/>
                                            </p:tgtEl>
                                            <p:attrNameLst>
                                              <p:attrName>ppt_x</p:attrName>
                                            </p:attrNameLst>
                                          </p:cBhvr>
                                          <p:tavLst>
                                            <p:tav tm="0">
                                              <p:val>
                                                <p:strVal val="0-#ppt_w/2"/>
                                              </p:val>
                                            </p:tav>
                                            <p:tav tm="100000">
                                              <p:val>
                                                <p:strVal val="#ppt_x"/>
                                              </p:val>
                                            </p:tav>
                                          </p:tavLst>
                                        </p:anim>
                                        <p:anim calcmode="lin" valueType="num">
                                          <p:cBhvr additive="base">
                                            <p:cTn id="42" dur="100" fill="hold"/>
                                            <p:tgtEl>
                                              <p:spTgt spid="79"/>
                                            </p:tgtEl>
                                            <p:attrNameLst>
                                              <p:attrName>ppt_y</p:attrName>
                                            </p:attrNameLst>
                                          </p:cBhvr>
                                          <p:tavLst>
                                            <p:tav tm="0">
                                              <p:val>
                                                <p:strVal val="#ppt_y"/>
                                              </p:val>
                                            </p:tav>
                                            <p:tav tm="100000">
                                              <p:val>
                                                <p:strVal val="#ppt_y"/>
                                              </p:val>
                                            </p:tav>
                                          </p:tavLst>
                                        </p:anim>
                                      </p:childTnLst>
                                    </p:cTn>
                                  </p:par>
                                </p:childTnLst>
                              </p:cTn>
                            </p:par>
                            <p:par>
                              <p:cTn id="43" fill="hold">
                                <p:stCondLst>
                                  <p:cond delay="4000"/>
                                </p:stCondLst>
                                <p:childTnLst>
                                  <p:par>
                                    <p:cTn id="44" presetID="2" presetClass="entr" presetSubtype="8" fill="hold" grpId="0" nodeType="afterEffect">
                                      <p:stCondLst>
                                        <p:cond delay="0"/>
                                      </p:stCondLst>
                                      <p:childTnLst>
                                        <p:set>
                                          <p:cBhvr>
                                            <p:cTn id="45" dur="1" fill="hold">
                                              <p:stCondLst>
                                                <p:cond delay="0"/>
                                              </p:stCondLst>
                                            </p:cTn>
                                            <p:tgtEl>
                                              <p:spTgt spid="78"/>
                                            </p:tgtEl>
                                            <p:attrNameLst>
                                              <p:attrName>style.visibility</p:attrName>
                                            </p:attrNameLst>
                                          </p:cBhvr>
                                          <p:to>
                                            <p:strVal val="visible"/>
                                          </p:to>
                                        </p:set>
                                        <p:anim calcmode="lin" valueType="num">
                                          <p:cBhvr additive="base">
                                            <p:cTn id="46" dur="100" fill="hold"/>
                                            <p:tgtEl>
                                              <p:spTgt spid="78"/>
                                            </p:tgtEl>
                                            <p:attrNameLst>
                                              <p:attrName>ppt_x</p:attrName>
                                            </p:attrNameLst>
                                          </p:cBhvr>
                                          <p:tavLst>
                                            <p:tav tm="0">
                                              <p:val>
                                                <p:strVal val="0-#ppt_w/2"/>
                                              </p:val>
                                            </p:tav>
                                            <p:tav tm="100000">
                                              <p:val>
                                                <p:strVal val="#ppt_x"/>
                                              </p:val>
                                            </p:tav>
                                          </p:tavLst>
                                        </p:anim>
                                        <p:anim calcmode="lin" valueType="num">
                                          <p:cBhvr additive="base">
                                            <p:cTn id="47" dur="100" fill="hold"/>
                                            <p:tgtEl>
                                              <p:spTgt spid="78"/>
                                            </p:tgtEl>
                                            <p:attrNameLst>
                                              <p:attrName>ppt_y</p:attrName>
                                            </p:attrNameLst>
                                          </p:cBhvr>
                                          <p:tavLst>
                                            <p:tav tm="0">
                                              <p:val>
                                                <p:strVal val="#ppt_y"/>
                                              </p:val>
                                            </p:tav>
                                            <p:tav tm="100000">
                                              <p:val>
                                                <p:strVal val="#ppt_y"/>
                                              </p:val>
                                            </p:tav>
                                          </p:tavLst>
                                        </p:anim>
                                      </p:childTnLst>
                                    </p:cTn>
                                  </p:par>
                                </p:childTnLst>
                              </p:cTn>
                            </p:par>
                            <p:par>
                              <p:cTn id="48" fill="hold">
                                <p:stCondLst>
                                  <p:cond delay="4500"/>
                                </p:stCondLst>
                                <p:childTnLst>
                                  <p:par>
                                    <p:cTn id="49" presetID="2" presetClass="entr" presetSubtype="8" fill="hold" grpId="0" nodeType="afterEffect">
                                      <p:stCondLst>
                                        <p:cond delay="0"/>
                                      </p:stCondLst>
                                      <p:childTnLst>
                                        <p:set>
                                          <p:cBhvr>
                                            <p:cTn id="50" dur="1" fill="hold">
                                              <p:stCondLst>
                                                <p:cond delay="0"/>
                                              </p:stCondLst>
                                            </p:cTn>
                                            <p:tgtEl>
                                              <p:spTgt spid="80"/>
                                            </p:tgtEl>
                                            <p:attrNameLst>
                                              <p:attrName>style.visibility</p:attrName>
                                            </p:attrNameLst>
                                          </p:cBhvr>
                                          <p:to>
                                            <p:strVal val="visible"/>
                                          </p:to>
                                        </p:set>
                                        <p:anim calcmode="lin" valueType="num">
                                          <p:cBhvr additive="base">
                                            <p:cTn id="51" dur="100" fill="hold"/>
                                            <p:tgtEl>
                                              <p:spTgt spid="80"/>
                                            </p:tgtEl>
                                            <p:attrNameLst>
                                              <p:attrName>ppt_x</p:attrName>
                                            </p:attrNameLst>
                                          </p:cBhvr>
                                          <p:tavLst>
                                            <p:tav tm="0">
                                              <p:val>
                                                <p:strVal val="0-#ppt_w/2"/>
                                              </p:val>
                                            </p:tav>
                                            <p:tav tm="100000">
                                              <p:val>
                                                <p:strVal val="#ppt_x"/>
                                              </p:val>
                                            </p:tav>
                                          </p:tavLst>
                                        </p:anim>
                                        <p:anim calcmode="lin" valueType="num">
                                          <p:cBhvr additive="base">
                                            <p:cTn id="52" dur="100" fill="hold"/>
                                            <p:tgtEl>
                                              <p:spTgt spid="80"/>
                                            </p:tgtEl>
                                            <p:attrNameLst>
                                              <p:attrName>ppt_y</p:attrName>
                                            </p:attrNameLst>
                                          </p:cBhvr>
                                          <p:tavLst>
                                            <p:tav tm="0">
                                              <p:val>
                                                <p:strVal val="#ppt_y"/>
                                              </p:val>
                                            </p:tav>
                                            <p:tav tm="100000">
                                              <p:val>
                                                <p:strVal val="#ppt_y"/>
                                              </p:val>
                                            </p:tav>
                                          </p:tavLst>
                                        </p:anim>
                                      </p:childTnLst>
                                    </p:cTn>
                                  </p:par>
                                </p:childTnLst>
                              </p:cTn>
                            </p:par>
                            <p:par>
                              <p:cTn id="53" fill="hold">
                                <p:stCondLst>
                                  <p:cond delay="5000"/>
                                </p:stCondLst>
                                <p:childTnLst>
                                  <p:par>
                                    <p:cTn id="54" presetID="2" presetClass="entr" presetSubtype="8"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additive="base">
                                            <p:cTn id="56" dur="100" fill="hold"/>
                                            <p:tgtEl>
                                              <p:spTgt spid="81"/>
                                            </p:tgtEl>
                                            <p:attrNameLst>
                                              <p:attrName>ppt_x</p:attrName>
                                            </p:attrNameLst>
                                          </p:cBhvr>
                                          <p:tavLst>
                                            <p:tav tm="0">
                                              <p:val>
                                                <p:strVal val="0-#ppt_w/2"/>
                                              </p:val>
                                            </p:tav>
                                            <p:tav tm="100000">
                                              <p:val>
                                                <p:strVal val="#ppt_x"/>
                                              </p:val>
                                            </p:tav>
                                          </p:tavLst>
                                        </p:anim>
                                        <p:anim calcmode="lin" valueType="num">
                                          <p:cBhvr additive="base">
                                            <p:cTn id="57" dur="100" fill="hold"/>
                                            <p:tgtEl>
                                              <p:spTgt spid="81"/>
                                            </p:tgtEl>
                                            <p:attrNameLst>
                                              <p:attrName>ppt_y</p:attrName>
                                            </p:attrNameLst>
                                          </p:cBhvr>
                                          <p:tavLst>
                                            <p:tav tm="0">
                                              <p:val>
                                                <p:strVal val="#ppt_y"/>
                                              </p:val>
                                            </p:tav>
                                            <p:tav tm="100000">
                                              <p:val>
                                                <p:strVal val="#ppt_y"/>
                                              </p:val>
                                            </p:tav>
                                          </p:tavLst>
                                        </p:anim>
                                      </p:childTnLst>
                                    </p:cTn>
                                  </p:par>
                                </p:childTnLst>
                              </p:cTn>
                            </p:par>
                            <p:par>
                              <p:cTn id="58" fill="hold">
                                <p:stCondLst>
                                  <p:cond delay="5500"/>
                                </p:stCondLst>
                                <p:childTnLst>
                                  <p:par>
                                    <p:cTn id="59" presetID="2" presetClass="entr" presetSubtype="8" fill="hold" grpId="0" nodeType="afterEffect">
                                      <p:stCondLst>
                                        <p:cond delay="0"/>
                                      </p:stCondLst>
                                      <p:childTnLst>
                                        <p:set>
                                          <p:cBhvr>
                                            <p:cTn id="60" dur="1" fill="hold">
                                              <p:stCondLst>
                                                <p:cond delay="0"/>
                                              </p:stCondLst>
                                            </p:cTn>
                                            <p:tgtEl>
                                              <p:spTgt spid="82"/>
                                            </p:tgtEl>
                                            <p:attrNameLst>
                                              <p:attrName>style.visibility</p:attrName>
                                            </p:attrNameLst>
                                          </p:cBhvr>
                                          <p:to>
                                            <p:strVal val="visible"/>
                                          </p:to>
                                        </p:set>
                                        <p:anim calcmode="lin" valueType="num">
                                          <p:cBhvr additive="base">
                                            <p:cTn id="61" dur="100" fill="hold"/>
                                            <p:tgtEl>
                                              <p:spTgt spid="82"/>
                                            </p:tgtEl>
                                            <p:attrNameLst>
                                              <p:attrName>ppt_x</p:attrName>
                                            </p:attrNameLst>
                                          </p:cBhvr>
                                          <p:tavLst>
                                            <p:tav tm="0">
                                              <p:val>
                                                <p:strVal val="0-#ppt_w/2"/>
                                              </p:val>
                                            </p:tav>
                                            <p:tav tm="100000">
                                              <p:val>
                                                <p:strVal val="#ppt_x"/>
                                              </p:val>
                                            </p:tav>
                                          </p:tavLst>
                                        </p:anim>
                                        <p:anim calcmode="lin" valueType="num">
                                          <p:cBhvr additive="base">
                                            <p:cTn id="62" dur="100" fill="hold"/>
                                            <p:tgtEl>
                                              <p:spTgt spid="82"/>
                                            </p:tgtEl>
                                            <p:attrNameLst>
                                              <p:attrName>ppt_y</p:attrName>
                                            </p:attrNameLst>
                                          </p:cBhvr>
                                          <p:tavLst>
                                            <p:tav tm="0">
                                              <p:val>
                                                <p:strVal val="#ppt_y"/>
                                              </p:val>
                                            </p:tav>
                                            <p:tav tm="100000">
                                              <p:val>
                                                <p:strVal val="#ppt_y"/>
                                              </p:val>
                                            </p:tav>
                                          </p:tavLst>
                                        </p:anim>
                                      </p:childTnLst>
                                    </p:cTn>
                                  </p:par>
                                </p:childTnLst>
                              </p:cTn>
                            </p:par>
                            <p:par>
                              <p:cTn id="63" fill="hold">
                                <p:stCondLst>
                                  <p:cond delay="6000"/>
                                </p:stCondLst>
                                <p:childTnLst>
                                  <p:par>
                                    <p:cTn id="64" presetID="2" presetClass="entr" presetSubtype="8" fill="hold" grpId="0" nodeType="afterEffect">
                                      <p:stCondLst>
                                        <p:cond delay="0"/>
                                      </p:stCondLst>
                                      <p:childTnLst>
                                        <p:set>
                                          <p:cBhvr>
                                            <p:cTn id="65" dur="1" fill="hold">
                                              <p:stCondLst>
                                                <p:cond delay="0"/>
                                              </p:stCondLst>
                                            </p:cTn>
                                            <p:tgtEl>
                                              <p:spTgt spid="83"/>
                                            </p:tgtEl>
                                            <p:attrNameLst>
                                              <p:attrName>style.visibility</p:attrName>
                                            </p:attrNameLst>
                                          </p:cBhvr>
                                          <p:to>
                                            <p:strVal val="visible"/>
                                          </p:to>
                                        </p:set>
                                        <p:anim calcmode="lin" valueType="num">
                                          <p:cBhvr additive="base">
                                            <p:cTn id="66" dur="100" fill="hold"/>
                                            <p:tgtEl>
                                              <p:spTgt spid="83"/>
                                            </p:tgtEl>
                                            <p:attrNameLst>
                                              <p:attrName>ppt_x</p:attrName>
                                            </p:attrNameLst>
                                          </p:cBhvr>
                                          <p:tavLst>
                                            <p:tav tm="0">
                                              <p:val>
                                                <p:strVal val="0-#ppt_w/2"/>
                                              </p:val>
                                            </p:tav>
                                            <p:tav tm="100000">
                                              <p:val>
                                                <p:strVal val="#ppt_x"/>
                                              </p:val>
                                            </p:tav>
                                          </p:tavLst>
                                        </p:anim>
                                        <p:anim calcmode="lin" valueType="num">
                                          <p:cBhvr additive="base">
                                            <p:cTn id="67" dur="100" fill="hold"/>
                                            <p:tgtEl>
                                              <p:spTgt spid="83"/>
                                            </p:tgtEl>
                                            <p:attrNameLst>
                                              <p:attrName>ppt_y</p:attrName>
                                            </p:attrNameLst>
                                          </p:cBhvr>
                                          <p:tavLst>
                                            <p:tav tm="0">
                                              <p:val>
                                                <p:strVal val="#ppt_y"/>
                                              </p:val>
                                            </p:tav>
                                            <p:tav tm="100000">
                                              <p:val>
                                                <p:strVal val="#ppt_y"/>
                                              </p:val>
                                            </p:tav>
                                          </p:tavLst>
                                        </p:anim>
                                      </p:childTnLst>
                                    </p:cTn>
                                  </p:par>
                                </p:childTnLst>
                              </p:cTn>
                            </p:par>
                            <p:par>
                              <p:cTn id="68" fill="hold">
                                <p:stCondLst>
                                  <p:cond delay="6500"/>
                                </p:stCondLst>
                                <p:childTnLst>
                                  <p:par>
                                    <p:cTn id="69" presetID="2" presetClass="entr" presetSubtype="8" fill="hold" grpId="0" nodeType="after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additive="base">
                                            <p:cTn id="71" dur="100" fill="hold"/>
                                            <p:tgtEl>
                                              <p:spTgt spid="84"/>
                                            </p:tgtEl>
                                            <p:attrNameLst>
                                              <p:attrName>ppt_x</p:attrName>
                                            </p:attrNameLst>
                                          </p:cBhvr>
                                          <p:tavLst>
                                            <p:tav tm="0">
                                              <p:val>
                                                <p:strVal val="0-#ppt_w/2"/>
                                              </p:val>
                                            </p:tav>
                                            <p:tav tm="100000">
                                              <p:val>
                                                <p:strVal val="#ppt_x"/>
                                              </p:val>
                                            </p:tav>
                                          </p:tavLst>
                                        </p:anim>
                                        <p:anim calcmode="lin" valueType="num">
                                          <p:cBhvr additive="base">
                                            <p:cTn id="72" dur="100" fill="hold"/>
                                            <p:tgtEl>
                                              <p:spTgt spid="84"/>
                                            </p:tgtEl>
                                            <p:attrNameLst>
                                              <p:attrName>ppt_y</p:attrName>
                                            </p:attrNameLst>
                                          </p:cBhvr>
                                          <p:tavLst>
                                            <p:tav tm="0">
                                              <p:val>
                                                <p:strVal val="#ppt_y"/>
                                              </p:val>
                                            </p:tav>
                                            <p:tav tm="100000">
                                              <p:val>
                                                <p:strVal val="#ppt_y"/>
                                              </p:val>
                                            </p:tav>
                                          </p:tavLst>
                                        </p:anim>
                                      </p:childTnLst>
                                    </p:cTn>
                                  </p:par>
                                </p:childTnLst>
                              </p:cTn>
                            </p:par>
                            <p:par>
                              <p:cTn id="73" fill="hold">
                                <p:stCondLst>
                                  <p:cond delay="7000"/>
                                </p:stCondLst>
                                <p:childTnLst>
                                  <p:par>
                                    <p:cTn id="74" presetID="2" presetClass="entr" presetSubtype="8" fill="hold" grpId="0" nodeType="afterEffect">
                                      <p:stCondLst>
                                        <p:cond delay="0"/>
                                      </p:stCondLst>
                                      <p:childTnLst>
                                        <p:set>
                                          <p:cBhvr>
                                            <p:cTn id="75" dur="1" fill="hold">
                                              <p:stCondLst>
                                                <p:cond delay="0"/>
                                              </p:stCondLst>
                                            </p:cTn>
                                            <p:tgtEl>
                                              <p:spTgt spid="85"/>
                                            </p:tgtEl>
                                            <p:attrNameLst>
                                              <p:attrName>style.visibility</p:attrName>
                                            </p:attrNameLst>
                                          </p:cBhvr>
                                          <p:to>
                                            <p:strVal val="visible"/>
                                          </p:to>
                                        </p:set>
                                        <p:anim calcmode="lin" valueType="num">
                                          <p:cBhvr additive="base">
                                            <p:cTn id="76" dur="100" fill="hold"/>
                                            <p:tgtEl>
                                              <p:spTgt spid="85"/>
                                            </p:tgtEl>
                                            <p:attrNameLst>
                                              <p:attrName>ppt_x</p:attrName>
                                            </p:attrNameLst>
                                          </p:cBhvr>
                                          <p:tavLst>
                                            <p:tav tm="0">
                                              <p:val>
                                                <p:strVal val="0-#ppt_w/2"/>
                                              </p:val>
                                            </p:tav>
                                            <p:tav tm="100000">
                                              <p:val>
                                                <p:strVal val="#ppt_x"/>
                                              </p:val>
                                            </p:tav>
                                          </p:tavLst>
                                        </p:anim>
                                        <p:anim calcmode="lin" valueType="num">
                                          <p:cBhvr additive="base">
                                            <p:cTn id="77" dur="100" fill="hold"/>
                                            <p:tgtEl>
                                              <p:spTgt spid="85"/>
                                            </p:tgtEl>
                                            <p:attrNameLst>
                                              <p:attrName>ppt_y</p:attrName>
                                            </p:attrNameLst>
                                          </p:cBhvr>
                                          <p:tavLst>
                                            <p:tav tm="0">
                                              <p:val>
                                                <p:strVal val="#ppt_y"/>
                                              </p:val>
                                            </p:tav>
                                            <p:tav tm="100000">
                                              <p:val>
                                                <p:strVal val="#ppt_y"/>
                                              </p:val>
                                            </p:tav>
                                          </p:tavLst>
                                        </p:anim>
                                      </p:childTnLst>
                                    </p:cTn>
                                  </p:par>
                                </p:childTnLst>
                              </p:cTn>
                            </p:par>
                            <p:par>
                              <p:cTn id="78" fill="hold">
                                <p:stCondLst>
                                  <p:cond delay="7500"/>
                                </p:stCondLst>
                                <p:childTnLst>
                                  <p:par>
                                    <p:cTn id="79" presetID="2" presetClass="entr" presetSubtype="8" fill="hold" grpId="0" nodeType="afterEffect">
                                      <p:stCondLst>
                                        <p:cond delay="0"/>
                                      </p:stCondLst>
                                      <p:childTnLst>
                                        <p:set>
                                          <p:cBhvr>
                                            <p:cTn id="80" dur="1" fill="hold">
                                              <p:stCondLst>
                                                <p:cond delay="0"/>
                                              </p:stCondLst>
                                            </p:cTn>
                                            <p:tgtEl>
                                              <p:spTgt spid="86"/>
                                            </p:tgtEl>
                                            <p:attrNameLst>
                                              <p:attrName>style.visibility</p:attrName>
                                            </p:attrNameLst>
                                          </p:cBhvr>
                                          <p:to>
                                            <p:strVal val="visible"/>
                                          </p:to>
                                        </p:set>
                                        <p:anim calcmode="lin" valueType="num">
                                          <p:cBhvr additive="base">
                                            <p:cTn id="81" dur="100" fill="hold"/>
                                            <p:tgtEl>
                                              <p:spTgt spid="86"/>
                                            </p:tgtEl>
                                            <p:attrNameLst>
                                              <p:attrName>ppt_x</p:attrName>
                                            </p:attrNameLst>
                                          </p:cBhvr>
                                          <p:tavLst>
                                            <p:tav tm="0">
                                              <p:val>
                                                <p:strVal val="0-#ppt_w/2"/>
                                              </p:val>
                                            </p:tav>
                                            <p:tav tm="100000">
                                              <p:val>
                                                <p:strVal val="#ppt_x"/>
                                              </p:val>
                                            </p:tav>
                                          </p:tavLst>
                                        </p:anim>
                                        <p:anim calcmode="lin" valueType="num">
                                          <p:cBhvr additive="base">
                                            <p:cTn id="82" dur="100" fill="hold"/>
                                            <p:tgtEl>
                                              <p:spTgt spid="86"/>
                                            </p:tgtEl>
                                            <p:attrNameLst>
                                              <p:attrName>ppt_y</p:attrName>
                                            </p:attrNameLst>
                                          </p:cBhvr>
                                          <p:tavLst>
                                            <p:tav tm="0">
                                              <p:val>
                                                <p:strVal val="#ppt_y"/>
                                              </p:val>
                                            </p:tav>
                                            <p:tav tm="100000">
                                              <p:val>
                                                <p:strVal val="#ppt_y"/>
                                              </p:val>
                                            </p:tav>
                                          </p:tavLst>
                                        </p:anim>
                                      </p:childTnLst>
                                    </p:cTn>
                                  </p:par>
                                </p:childTnLst>
                              </p:cTn>
                            </p:par>
                            <p:par>
                              <p:cTn id="83" fill="hold">
                                <p:stCondLst>
                                  <p:cond delay="8000"/>
                                </p:stCondLst>
                                <p:childTnLst>
                                  <p:par>
                                    <p:cTn id="84" presetID="42"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100"/>
                                            <p:tgtEl>
                                              <p:spTgt spid="54"/>
                                            </p:tgtEl>
                                          </p:cBhvr>
                                        </p:animEffect>
                                        <p:anim calcmode="lin" valueType="num">
                                          <p:cBhvr>
                                            <p:cTn id="87" dur="100" fill="hold"/>
                                            <p:tgtEl>
                                              <p:spTgt spid="54"/>
                                            </p:tgtEl>
                                            <p:attrNameLst>
                                              <p:attrName>ppt_x</p:attrName>
                                            </p:attrNameLst>
                                          </p:cBhvr>
                                          <p:tavLst>
                                            <p:tav tm="0">
                                              <p:val>
                                                <p:strVal val="#ppt_x"/>
                                              </p:val>
                                            </p:tav>
                                            <p:tav tm="100000">
                                              <p:val>
                                                <p:strVal val="#ppt_x"/>
                                              </p:val>
                                            </p:tav>
                                          </p:tavLst>
                                        </p:anim>
                                        <p:anim calcmode="lin" valueType="num">
                                          <p:cBhvr>
                                            <p:cTn id="88" dur="100" fill="hold"/>
                                            <p:tgtEl>
                                              <p:spTgt spid="54"/>
                                            </p:tgtEl>
                                            <p:attrNameLst>
                                              <p:attrName>ppt_y</p:attrName>
                                            </p:attrNameLst>
                                          </p:cBhvr>
                                          <p:tavLst>
                                            <p:tav tm="0">
                                              <p:val>
                                                <p:strVal val="#ppt_y+.1"/>
                                              </p:val>
                                            </p:tav>
                                            <p:tav tm="100000">
                                              <p:val>
                                                <p:strVal val="#ppt_y"/>
                                              </p:val>
                                            </p:tav>
                                          </p:tavLst>
                                        </p:anim>
                                      </p:childTnLst>
                                    </p:cTn>
                                  </p:par>
                                </p:childTnLst>
                              </p:cTn>
                            </p:par>
                            <p:par>
                              <p:cTn id="89" fill="hold">
                                <p:stCondLst>
                                  <p:cond delay="8500"/>
                                </p:stCondLst>
                                <p:childTnLst>
                                  <p:par>
                                    <p:cTn id="90" presetID="42" presetClass="entr" presetSubtype="0" fill="hold" grpId="0" nodeType="after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fade">
                                          <p:cBhvr>
                                            <p:cTn id="92" dur="100"/>
                                            <p:tgtEl>
                                              <p:spTgt spid="63"/>
                                            </p:tgtEl>
                                          </p:cBhvr>
                                        </p:animEffect>
                                        <p:anim calcmode="lin" valueType="num">
                                          <p:cBhvr>
                                            <p:cTn id="93" dur="100" fill="hold"/>
                                            <p:tgtEl>
                                              <p:spTgt spid="63"/>
                                            </p:tgtEl>
                                            <p:attrNameLst>
                                              <p:attrName>ppt_x</p:attrName>
                                            </p:attrNameLst>
                                          </p:cBhvr>
                                          <p:tavLst>
                                            <p:tav tm="0">
                                              <p:val>
                                                <p:strVal val="#ppt_x"/>
                                              </p:val>
                                            </p:tav>
                                            <p:tav tm="100000">
                                              <p:val>
                                                <p:strVal val="#ppt_x"/>
                                              </p:val>
                                            </p:tav>
                                          </p:tavLst>
                                        </p:anim>
                                        <p:anim calcmode="lin" valueType="num">
                                          <p:cBhvr>
                                            <p:cTn id="94" dur="100" fill="hold"/>
                                            <p:tgtEl>
                                              <p:spTgt spid="63"/>
                                            </p:tgtEl>
                                            <p:attrNameLst>
                                              <p:attrName>ppt_y</p:attrName>
                                            </p:attrNameLst>
                                          </p:cBhvr>
                                          <p:tavLst>
                                            <p:tav tm="0">
                                              <p:val>
                                                <p:strVal val="#ppt_y+.1"/>
                                              </p:val>
                                            </p:tav>
                                            <p:tav tm="100000">
                                              <p:val>
                                                <p:strVal val="#ppt_y"/>
                                              </p:val>
                                            </p:tav>
                                          </p:tavLst>
                                        </p:anim>
                                      </p:childTnLst>
                                    </p:cTn>
                                  </p:par>
                                </p:childTnLst>
                              </p:cTn>
                            </p:par>
                            <p:par>
                              <p:cTn id="95" fill="hold">
                                <p:stCondLst>
                                  <p:cond delay="9000"/>
                                </p:stCondLst>
                                <p:childTnLst>
                                  <p:par>
                                    <p:cTn id="96" presetID="42" presetClass="entr" presetSubtype="0" fill="hold" grpId="0" nodeType="after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100"/>
                                            <p:tgtEl>
                                              <p:spTgt spid="55"/>
                                            </p:tgtEl>
                                          </p:cBhvr>
                                        </p:animEffect>
                                        <p:anim calcmode="lin" valueType="num">
                                          <p:cBhvr>
                                            <p:cTn id="99" dur="100" fill="hold"/>
                                            <p:tgtEl>
                                              <p:spTgt spid="55"/>
                                            </p:tgtEl>
                                            <p:attrNameLst>
                                              <p:attrName>ppt_x</p:attrName>
                                            </p:attrNameLst>
                                          </p:cBhvr>
                                          <p:tavLst>
                                            <p:tav tm="0">
                                              <p:val>
                                                <p:strVal val="#ppt_x"/>
                                              </p:val>
                                            </p:tav>
                                            <p:tav tm="100000">
                                              <p:val>
                                                <p:strVal val="#ppt_x"/>
                                              </p:val>
                                            </p:tav>
                                          </p:tavLst>
                                        </p:anim>
                                        <p:anim calcmode="lin" valueType="num">
                                          <p:cBhvr>
                                            <p:cTn id="100" dur="100" fill="hold"/>
                                            <p:tgtEl>
                                              <p:spTgt spid="55"/>
                                            </p:tgtEl>
                                            <p:attrNameLst>
                                              <p:attrName>ppt_y</p:attrName>
                                            </p:attrNameLst>
                                          </p:cBhvr>
                                          <p:tavLst>
                                            <p:tav tm="0">
                                              <p:val>
                                                <p:strVal val="#ppt_y+.1"/>
                                              </p:val>
                                            </p:tav>
                                            <p:tav tm="100000">
                                              <p:val>
                                                <p:strVal val="#ppt_y"/>
                                              </p:val>
                                            </p:tav>
                                          </p:tavLst>
                                        </p:anim>
                                      </p:childTnLst>
                                    </p:cTn>
                                  </p:par>
                                </p:childTnLst>
                              </p:cTn>
                            </p:par>
                            <p:par>
                              <p:cTn id="101" fill="hold">
                                <p:stCondLst>
                                  <p:cond delay="9500"/>
                                </p:stCondLst>
                                <p:childTnLst>
                                  <p:par>
                                    <p:cTn id="102" presetID="42" presetClass="entr" presetSubtype="0" fill="hold" grpId="0" nodeType="after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fade">
                                          <p:cBhvr>
                                            <p:cTn id="104" dur="100"/>
                                            <p:tgtEl>
                                              <p:spTgt spid="64"/>
                                            </p:tgtEl>
                                          </p:cBhvr>
                                        </p:animEffect>
                                        <p:anim calcmode="lin" valueType="num">
                                          <p:cBhvr>
                                            <p:cTn id="105" dur="100" fill="hold"/>
                                            <p:tgtEl>
                                              <p:spTgt spid="64"/>
                                            </p:tgtEl>
                                            <p:attrNameLst>
                                              <p:attrName>ppt_x</p:attrName>
                                            </p:attrNameLst>
                                          </p:cBhvr>
                                          <p:tavLst>
                                            <p:tav tm="0">
                                              <p:val>
                                                <p:strVal val="#ppt_x"/>
                                              </p:val>
                                            </p:tav>
                                            <p:tav tm="100000">
                                              <p:val>
                                                <p:strVal val="#ppt_x"/>
                                              </p:val>
                                            </p:tav>
                                          </p:tavLst>
                                        </p:anim>
                                        <p:anim calcmode="lin" valueType="num">
                                          <p:cBhvr>
                                            <p:cTn id="106" dur="100" fill="hold"/>
                                            <p:tgtEl>
                                              <p:spTgt spid="64"/>
                                            </p:tgtEl>
                                            <p:attrNameLst>
                                              <p:attrName>ppt_y</p:attrName>
                                            </p:attrNameLst>
                                          </p:cBhvr>
                                          <p:tavLst>
                                            <p:tav tm="0">
                                              <p:val>
                                                <p:strVal val="#ppt_y+.1"/>
                                              </p:val>
                                            </p:tav>
                                            <p:tav tm="100000">
                                              <p:val>
                                                <p:strVal val="#ppt_y"/>
                                              </p:val>
                                            </p:tav>
                                          </p:tavLst>
                                        </p:anim>
                                      </p:childTnLst>
                                    </p:cTn>
                                  </p:par>
                                </p:childTnLst>
                              </p:cTn>
                            </p:par>
                            <p:par>
                              <p:cTn id="107" fill="hold">
                                <p:stCondLst>
                                  <p:cond delay="10000"/>
                                </p:stCondLst>
                                <p:childTnLst>
                                  <p:par>
                                    <p:cTn id="108" presetID="42" presetClass="entr" presetSubtype="0" fill="hold" grpId="0"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
                                            <p:tgtEl>
                                              <p:spTgt spid="56"/>
                                            </p:tgtEl>
                                          </p:cBhvr>
                                        </p:animEffect>
                                        <p:anim calcmode="lin" valueType="num">
                                          <p:cBhvr>
                                            <p:cTn id="111" dur="100" fill="hold"/>
                                            <p:tgtEl>
                                              <p:spTgt spid="56"/>
                                            </p:tgtEl>
                                            <p:attrNameLst>
                                              <p:attrName>ppt_x</p:attrName>
                                            </p:attrNameLst>
                                          </p:cBhvr>
                                          <p:tavLst>
                                            <p:tav tm="0">
                                              <p:val>
                                                <p:strVal val="#ppt_x"/>
                                              </p:val>
                                            </p:tav>
                                            <p:tav tm="100000">
                                              <p:val>
                                                <p:strVal val="#ppt_x"/>
                                              </p:val>
                                            </p:tav>
                                          </p:tavLst>
                                        </p:anim>
                                        <p:anim calcmode="lin" valueType="num">
                                          <p:cBhvr>
                                            <p:cTn id="112" dur="100" fill="hold"/>
                                            <p:tgtEl>
                                              <p:spTgt spid="56"/>
                                            </p:tgtEl>
                                            <p:attrNameLst>
                                              <p:attrName>ppt_y</p:attrName>
                                            </p:attrNameLst>
                                          </p:cBhvr>
                                          <p:tavLst>
                                            <p:tav tm="0">
                                              <p:val>
                                                <p:strVal val="#ppt_y+.1"/>
                                              </p:val>
                                            </p:tav>
                                            <p:tav tm="100000">
                                              <p:val>
                                                <p:strVal val="#ppt_y"/>
                                              </p:val>
                                            </p:tav>
                                          </p:tavLst>
                                        </p:anim>
                                      </p:childTnLst>
                                    </p:cTn>
                                  </p:par>
                                </p:childTnLst>
                              </p:cTn>
                            </p:par>
                            <p:par>
                              <p:cTn id="113" fill="hold">
                                <p:stCondLst>
                                  <p:cond delay="10500"/>
                                </p:stCondLst>
                                <p:childTnLst>
                                  <p:par>
                                    <p:cTn id="114" presetID="42" presetClass="entr" presetSubtype="0" fill="hold" grpId="0" nodeType="after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100"/>
                                            <p:tgtEl>
                                              <p:spTgt spid="65"/>
                                            </p:tgtEl>
                                          </p:cBhvr>
                                        </p:animEffect>
                                        <p:anim calcmode="lin" valueType="num">
                                          <p:cBhvr>
                                            <p:cTn id="117" dur="100" fill="hold"/>
                                            <p:tgtEl>
                                              <p:spTgt spid="65"/>
                                            </p:tgtEl>
                                            <p:attrNameLst>
                                              <p:attrName>ppt_x</p:attrName>
                                            </p:attrNameLst>
                                          </p:cBhvr>
                                          <p:tavLst>
                                            <p:tav tm="0">
                                              <p:val>
                                                <p:strVal val="#ppt_x"/>
                                              </p:val>
                                            </p:tav>
                                            <p:tav tm="100000">
                                              <p:val>
                                                <p:strVal val="#ppt_x"/>
                                              </p:val>
                                            </p:tav>
                                          </p:tavLst>
                                        </p:anim>
                                        <p:anim calcmode="lin" valueType="num">
                                          <p:cBhvr>
                                            <p:cTn id="118" dur="100" fill="hold"/>
                                            <p:tgtEl>
                                              <p:spTgt spid="65"/>
                                            </p:tgtEl>
                                            <p:attrNameLst>
                                              <p:attrName>ppt_y</p:attrName>
                                            </p:attrNameLst>
                                          </p:cBhvr>
                                          <p:tavLst>
                                            <p:tav tm="0">
                                              <p:val>
                                                <p:strVal val="#ppt_y+.1"/>
                                              </p:val>
                                            </p:tav>
                                            <p:tav tm="100000">
                                              <p:val>
                                                <p:strVal val="#ppt_y"/>
                                              </p:val>
                                            </p:tav>
                                          </p:tavLst>
                                        </p:anim>
                                      </p:childTnLst>
                                    </p:cTn>
                                  </p:par>
                                </p:childTnLst>
                              </p:cTn>
                            </p:par>
                            <p:par>
                              <p:cTn id="119" fill="hold">
                                <p:stCondLst>
                                  <p:cond delay="11000"/>
                                </p:stCondLst>
                                <p:childTnLst>
                                  <p:par>
                                    <p:cTn id="120" presetID="42" presetClass="entr" presetSubtype="0" fill="hold" grpId="0" nodeType="afterEffect">
                                      <p:stCondLst>
                                        <p:cond delay="0"/>
                                      </p:stCondLst>
                                      <p:childTnLst>
                                        <p:set>
                                          <p:cBhvr>
                                            <p:cTn id="121" dur="1" fill="hold">
                                              <p:stCondLst>
                                                <p:cond delay="0"/>
                                              </p:stCondLst>
                                            </p:cTn>
                                            <p:tgtEl>
                                              <p:spTgt spid="57"/>
                                            </p:tgtEl>
                                            <p:attrNameLst>
                                              <p:attrName>style.visibility</p:attrName>
                                            </p:attrNameLst>
                                          </p:cBhvr>
                                          <p:to>
                                            <p:strVal val="visible"/>
                                          </p:to>
                                        </p:set>
                                        <p:animEffect transition="in" filter="fade">
                                          <p:cBhvr>
                                            <p:cTn id="122" dur="100"/>
                                            <p:tgtEl>
                                              <p:spTgt spid="57"/>
                                            </p:tgtEl>
                                          </p:cBhvr>
                                        </p:animEffect>
                                        <p:anim calcmode="lin" valueType="num">
                                          <p:cBhvr>
                                            <p:cTn id="123" dur="100" fill="hold"/>
                                            <p:tgtEl>
                                              <p:spTgt spid="57"/>
                                            </p:tgtEl>
                                            <p:attrNameLst>
                                              <p:attrName>ppt_x</p:attrName>
                                            </p:attrNameLst>
                                          </p:cBhvr>
                                          <p:tavLst>
                                            <p:tav tm="0">
                                              <p:val>
                                                <p:strVal val="#ppt_x"/>
                                              </p:val>
                                            </p:tav>
                                            <p:tav tm="100000">
                                              <p:val>
                                                <p:strVal val="#ppt_x"/>
                                              </p:val>
                                            </p:tav>
                                          </p:tavLst>
                                        </p:anim>
                                        <p:anim calcmode="lin" valueType="num">
                                          <p:cBhvr>
                                            <p:cTn id="124" dur="100" fill="hold"/>
                                            <p:tgtEl>
                                              <p:spTgt spid="57"/>
                                            </p:tgtEl>
                                            <p:attrNameLst>
                                              <p:attrName>ppt_y</p:attrName>
                                            </p:attrNameLst>
                                          </p:cBhvr>
                                          <p:tavLst>
                                            <p:tav tm="0">
                                              <p:val>
                                                <p:strVal val="#ppt_y+.1"/>
                                              </p:val>
                                            </p:tav>
                                            <p:tav tm="100000">
                                              <p:val>
                                                <p:strVal val="#ppt_y"/>
                                              </p:val>
                                            </p:tav>
                                          </p:tavLst>
                                        </p:anim>
                                      </p:childTnLst>
                                    </p:cTn>
                                  </p:par>
                                </p:childTnLst>
                              </p:cTn>
                            </p:par>
                            <p:par>
                              <p:cTn id="125" fill="hold">
                                <p:stCondLst>
                                  <p:cond delay="11500"/>
                                </p:stCondLst>
                                <p:childTnLst>
                                  <p:par>
                                    <p:cTn id="126" presetID="42" presetClass="entr" presetSubtype="0" fill="hold" grpId="0" nodeType="afterEffect">
                                      <p:stCondLst>
                                        <p:cond delay="0"/>
                                      </p:stCondLst>
                                      <p:childTnLst>
                                        <p:set>
                                          <p:cBhvr>
                                            <p:cTn id="127" dur="1" fill="hold">
                                              <p:stCondLst>
                                                <p:cond delay="0"/>
                                              </p:stCondLst>
                                            </p:cTn>
                                            <p:tgtEl>
                                              <p:spTgt spid="66"/>
                                            </p:tgtEl>
                                            <p:attrNameLst>
                                              <p:attrName>style.visibility</p:attrName>
                                            </p:attrNameLst>
                                          </p:cBhvr>
                                          <p:to>
                                            <p:strVal val="visible"/>
                                          </p:to>
                                        </p:set>
                                        <p:animEffect transition="in" filter="fade">
                                          <p:cBhvr>
                                            <p:cTn id="128" dur="100"/>
                                            <p:tgtEl>
                                              <p:spTgt spid="66"/>
                                            </p:tgtEl>
                                          </p:cBhvr>
                                        </p:animEffect>
                                        <p:anim calcmode="lin" valueType="num">
                                          <p:cBhvr>
                                            <p:cTn id="129" dur="100" fill="hold"/>
                                            <p:tgtEl>
                                              <p:spTgt spid="66"/>
                                            </p:tgtEl>
                                            <p:attrNameLst>
                                              <p:attrName>ppt_x</p:attrName>
                                            </p:attrNameLst>
                                          </p:cBhvr>
                                          <p:tavLst>
                                            <p:tav tm="0">
                                              <p:val>
                                                <p:strVal val="#ppt_x"/>
                                              </p:val>
                                            </p:tav>
                                            <p:tav tm="100000">
                                              <p:val>
                                                <p:strVal val="#ppt_x"/>
                                              </p:val>
                                            </p:tav>
                                          </p:tavLst>
                                        </p:anim>
                                        <p:anim calcmode="lin" valueType="num">
                                          <p:cBhvr>
                                            <p:cTn id="130" dur="100" fill="hold"/>
                                            <p:tgtEl>
                                              <p:spTgt spid="66"/>
                                            </p:tgtEl>
                                            <p:attrNameLst>
                                              <p:attrName>ppt_y</p:attrName>
                                            </p:attrNameLst>
                                          </p:cBhvr>
                                          <p:tavLst>
                                            <p:tav tm="0">
                                              <p:val>
                                                <p:strVal val="#ppt_y+.1"/>
                                              </p:val>
                                            </p:tav>
                                            <p:tav tm="100000">
                                              <p:val>
                                                <p:strVal val="#ppt_y"/>
                                              </p:val>
                                            </p:tav>
                                          </p:tavLst>
                                        </p:anim>
                                      </p:childTnLst>
                                    </p:cTn>
                                  </p:par>
                                </p:childTnLst>
                              </p:cTn>
                            </p:par>
                            <p:par>
                              <p:cTn id="131" fill="hold">
                                <p:stCondLst>
                                  <p:cond delay="12000"/>
                                </p:stCondLst>
                                <p:childTnLst>
                                  <p:par>
                                    <p:cTn id="132" presetID="42"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100"/>
                                            <p:tgtEl>
                                              <p:spTgt spid="58"/>
                                            </p:tgtEl>
                                          </p:cBhvr>
                                        </p:animEffect>
                                        <p:anim calcmode="lin" valueType="num">
                                          <p:cBhvr>
                                            <p:cTn id="135" dur="100" fill="hold"/>
                                            <p:tgtEl>
                                              <p:spTgt spid="58"/>
                                            </p:tgtEl>
                                            <p:attrNameLst>
                                              <p:attrName>ppt_x</p:attrName>
                                            </p:attrNameLst>
                                          </p:cBhvr>
                                          <p:tavLst>
                                            <p:tav tm="0">
                                              <p:val>
                                                <p:strVal val="#ppt_x"/>
                                              </p:val>
                                            </p:tav>
                                            <p:tav tm="100000">
                                              <p:val>
                                                <p:strVal val="#ppt_x"/>
                                              </p:val>
                                            </p:tav>
                                          </p:tavLst>
                                        </p:anim>
                                        <p:anim calcmode="lin" valueType="num">
                                          <p:cBhvr>
                                            <p:cTn id="136" dur="100" fill="hold"/>
                                            <p:tgtEl>
                                              <p:spTgt spid="58"/>
                                            </p:tgtEl>
                                            <p:attrNameLst>
                                              <p:attrName>ppt_y</p:attrName>
                                            </p:attrNameLst>
                                          </p:cBhvr>
                                          <p:tavLst>
                                            <p:tav tm="0">
                                              <p:val>
                                                <p:strVal val="#ppt_y+.1"/>
                                              </p:val>
                                            </p:tav>
                                            <p:tav tm="100000">
                                              <p:val>
                                                <p:strVal val="#ppt_y"/>
                                              </p:val>
                                            </p:tav>
                                          </p:tavLst>
                                        </p:anim>
                                      </p:childTnLst>
                                    </p:cTn>
                                  </p:par>
                                </p:childTnLst>
                              </p:cTn>
                            </p:par>
                            <p:par>
                              <p:cTn id="137" fill="hold">
                                <p:stCondLst>
                                  <p:cond delay="12500"/>
                                </p:stCondLst>
                                <p:childTnLst>
                                  <p:par>
                                    <p:cTn id="138" presetID="42" presetClass="entr" presetSubtype="0" fill="hold" grpId="0" nodeType="afterEffect">
                                      <p:stCondLst>
                                        <p:cond delay="0"/>
                                      </p:stCondLst>
                                      <p:childTnLst>
                                        <p:set>
                                          <p:cBhvr>
                                            <p:cTn id="139" dur="1" fill="hold">
                                              <p:stCondLst>
                                                <p:cond delay="0"/>
                                              </p:stCondLst>
                                            </p:cTn>
                                            <p:tgtEl>
                                              <p:spTgt spid="67"/>
                                            </p:tgtEl>
                                            <p:attrNameLst>
                                              <p:attrName>style.visibility</p:attrName>
                                            </p:attrNameLst>
                                          </p:cBhvr>
                                          <p:to>
                                            <p:strVal val="visible"/>
                                          </p:to>
                                        </p:set>
                                        <p:animEffect transition="in" filter="fade">
                                          <p:cBhvr>
                                            <p:cTn id="140" dur="100"/>
                                            <p:tgtEl>
                                              <p:spTgt spid="67"/>
                                            </p:tgtEl>
                                          </p:cBhvr>
                                        </p:animEffect>
                                        <p:anim calcmode="lin" valueType="num">
                                          <p:cBhvr>
                                            <p:cTn id="141" dur="100" fill="hold"/>
                                            <p:tgtEl>
                                              <p:spTgt spid="67"/>
                                            </p:tgtEl>
                                            <p:attrNameLst>
                                              <p:attrName>ppt_x</p:attrName>
                                            </p:attrNameLst>
                                          </p:cBhvr>
                                          <p:tavLst>
                                            <p:tav tm="0">
                                              <p:val>
                                                <p:strVal val="#ppt_x"/>
                                              </p:val>
                                            </p:tav>
                                            <p:tav tm="100000">
                                              <p:val>
                                                <p:strVal val="#ppt_x"/>
                                              </p:val>
                                            </p:tav>
                                          </p:tavLst>
                                        </p:anim>
                                        <p:anim calcmode="lin" valueType="num">
                                          <p:cBhvr>
                                            <p:cTn id="142" dur="100" fill="hold"/>
                                            <p:tgtEl>
                                              <p:spTgt spid="67"/>
                                            </p:tgtEl>
                                            <p:attrNameLst>
                                              <p:attrName>ppt_y</p:attrName>
                                            </p:attrNameLst>
                                          </p:cBhvr>
                                          <p:tavLst>
                                            <p:tav tm="0">
                                              <p:val>
                                                <p:strVal val="#ppt_y+.1"/>
                                              </p:val>
                                            </p:tav>
                                            <p:tav tm="100000">
                                              <p:val>
                                                <p:strVal val="#ppt_y"/>
                                              </p:val>
                                            </p:tav>
                                          </p:tavLst>
                                        </p:anim>
                                      </p:childTnLst>
                                    </p:cTn>
                                  </p:par>
                                </p:childTnLst>
                              </p:cTn>
                            </p:par>
                            <p:par>
                              <p:cTn id="143" fill="hold">
                                <p:stCondLst>
                                  <p:cond delay="13000"/>
                                </p:stCondLst>
                                <p:childTnLst>
                                  <p:par>
                                    <p:cTn id="144" presetID="42" presetClass="entr" presetSubtype="0" fill="hold" grpId="0" nodeType="afterEffect">
                                      <p:stCondLst>
                                        <p:cond delay="0"/>
                                      </p:stCondLst>
                                      <p:childTnLst>
                                        <p:set>
                                          <p:cBhvr>
                                            <p:cTn id="145" dur="1" fill="hold">
                                              <p:stCondLst>
                                                <p:cond delay="0"/>
                                              </p:stCondLst>
                                            </p:cTn>
                                            <p:tgtEl>
                                              <p:spTgt spid="59"/>
                                            </p:tgtEl>
                                            <p:attrNameLst>
                                              <p:attrName>style.visibility</p:attrName>
                                            </p:attrNameLst>
                                          </p:cBhvr>
                                          <p:to>
                                            <p:strVal val="visible"/>
                                          </p:to>
                                        </p:set>
                                        <p:animEffect transition="in" filter="fade">
                                          <p:cBhvr>
                                            <p:cTn id="146" dur="100"/>
                                            <p:tgtEl>
                                              <p:spTgt spid="59"/>
                                            </p:tgtEl>
                                          </p:cBhvr>
                                        </p:animEffect>
                                        <p:anim calcmode="lin" valueType="num">
                                          <p:cBhvr>
                                            <p:cTn id="147" dur="100" fill="hold"/>
                                            <p:tgtEl>
                                              <p:spTgt spid="59"/>
                                            </p:tgtEl>
                                            <p:attrNameLst>
                                              <p:attrName>ppt_x</p:attrName>
                                            </p:attrNameLst>
                                          </p:cBhvr>
                                          <p:tavLst>
                                            <p:tav tm="0">
                                              <p:val>
                                                <p:strVal val="#ppt_x"/>
                                              </p:val>
                                            </p:tav>
                                            <p:tav tm="100000">
                                              <p:val>
                                                <p:strVal val="#ppt_x"/>
                                              </p:val>
                                            </p:tav>
                                          </p:tavLst>
                                        </p:anim>
                                        <p:anim calcmode="lin" valueType="num">
                                          <p:cBhvr>
                                            <p:cTn id="148" dur="100" fill="hold"/>
                                            <p:tgtEl>
                                              <p:spTgt spid="59"/>
                                            </p:tgtEl>
                                            <p:attrNameLst>
                                              <p:attrName>ppt_y</p:attrName>
                                            </p:attrNameLst>
                                          </p:cBhvr>
                                          <p:tavLst>
                                            <p:tav tm="0">
                                              <p:val>
                                                <p:strVal val="#ppt_y+.1"/>
                                              </p:val>
                                            </p:tav>
                                            <p:tav tm="100000">
                                              <p:val>
                                                <p:strVal val="#ppt_y"/>
                                              </p:val>
                                            </p:tav>
                                          </p:tavLst>
                                        </p:anim>
                                      </p:childTnLst>
                                    </p:cTn>
                                  </p:par>
                                </p:childTnLst>
                              </p:cTn>
                            </p:par>
                            <p:par>
                              <p:cTn id="149" fill="hold">
                                <p:stCondLst>
                                  <p:cond delay="13500"/>
                                </p:stCondLst>
                                <p:childTnLst>
                                  <p:par>
                                    <p:cTn id="150" presetID="42" presetClass="entr" presetSubtype="0" fill="hold" grpId="0" nodeType="afterEffect">
                                      <p:stCondLst>
                                        <p:cond delay="0"/>
                                      </p:stCondLst>
                                      <p:childTnLst>
                                        <p:set>
                                          <p:cBhvr>
                                            <p:cTn id="151" dur="1" fill="hold">
                                              <p:stCondLst>
                                                <p:cond delay="0"/>
                                              </p:stCondLst>
                                            </p:cTn>
                                            <p:tgtEl>
                                              <p:spTgt spid="68"/>
                                            </p:tgtEl>
                                            <p:attrNameLst>
                                              <p:attrName>style.visibility</p:attrName>
                                            </p:attrNameLst>
                                          </p:cBhvr>
                                          <p:to>
                                            <p:strVal val="visible"/>
                                          </p:to>
                                        </p:set>
                                        <p:animEffect transition="in" filter="fade">
                                          <p:cBhvr>
                                            <p:cTn id="152" dur="100"/>
                                            <p:tgtEl>
                                              <p:spTgt spid="68"/>
                                            </p:tgtEl>
                                          </p:cBhvr>
                                        </p:animEffect>
                                        <p:anim calcmode="lin" valueType="num">
                                          <p:cBhvr>
                                            <p:cTn id="153" dur="100" fill="hold"/>
                                            <p:tgtEl>
                                              <p:spTgt spid="68"/>
                                            </p:tgtEl>
                                            <p:attrNameLst>
                                              <p:attrName>ppt_x</p:attrName>
                                            </p:attrNameLst>
                                          </p:cBhvr>
                                          <p:tavLst>
                                            <p:tav tm="0">
                                              <p:val>
                                                <p:strVal val="#ppt_x"/>
                                              </p:val>
                                            </p:tav>
                                            <p:tav tm="100000">
                                              <p:val>
                                                <p:strVal val="#ppt_x"/>
                                              </p:val>
                                            </p:tav>
                                          </p:tavLst>
                                        </p:anim>
                                        <p:anim calcmode="lin" valueType="num">
                                          <p:cBhvr>
                                            <p:cTn id="154" dur="100" fill="hold"/>
                                            <p:tgtEl>
                                              <p:spTgt spid="68"/>
                                            </p:tgtEl>
                                            <p:attrNameLst>
                                              <p:attrName>ppt_y</p:attrName>
                                            </p:attrNameLst>
                                          </p:cBhvr>
                                          <p:tavLst>
                                            <p:tav tm="0">
                                              <p:val>
                                                <p:strVal val="#ppt_y+.1"/>
                                              </p:val>
                                            </p:tav>
                                            <p:tav tm="100000">
                                              <p:val>
                                                <p:strVal val="#ppt_y"/>
                                              </p:val>
                                            </p:tav>
                                          </p:tavLst>
                                        </p:anim>
                                      </p:childTnLst>
                                    </p:cTn>
                                  </p:par>
                                </p:childTnLst>
                              </p:cTn>
                            </p:par>
                            <p:par>
                              <p:cTn id="155" fill="hold">
                                <p:stCondLst>
                                  <p:cond delay="14000"/>
                                </p:stCondLst>
                                <p:childTnLst>
                                  <p:par>
                                    <p:cTn id="156" presetID="42" presetClass="entr" presetSubtype="0" fill="hold" grpId="0" nodeType="after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
                                            <p:tgtEl>
                                              <p:spTgt spid="60"/>
                                            </p:tgtEl>
                                          </p:cBhvr>
                                        </p:animEffect>
                                        <p:anim calcmode="lin" valueType="num">
                                          <p:cBhvr>
                                            <p:cTn id="159" dur="100" fill="hold"/>
                                            <p:tgtEl>
                                              <p:spTgt spid="60"/>
                                            </p:tgtEl>
                                            <p:attrNameLst>
                                              <p:attrName>ppt_x</p:attrName>
                                            </p:attrNameLst>
                                          </p:cBhvr>
                                          <p:tavLst>
                                            <p:tav tm="0">
                                              <p:val>
                                                <p:strVal val="#ppt_x"/>
                                              </p:val>
                                            </p:tav>
                                            <p:tav tm="100000">
                                              <p:val>
                                                <p:strVal val="#ppt_x"/>
                                              </p:val>
                                            </p:tav>
                                          </p:tavLst>
                                        </p:anim>
                                        <p:anim calcmode="lin" valueType="num">
                                          <p:cBhvr>
                                            <p:cTn id="160" dur="100" fill="hold"/>
                                            <p:tgtEl>
                                              <p:spTgt spid="60"/>
                                            </p:tgtEl>
                                            <p:attrNameLst>
                                              <p:attrName>ppt_y</p:attrName>
                                            </p:attrNameLst>
                                          </p:cBhvr>
                                          <p:tavLst>
                                            <p:tav tm="0">
                                              <p:val>
                                                <p:strVal val="#ppt_y+.1"/>
                                              </p:val>
                                            </p:tav>
                                            <p:tav tm="100000">
                                              <p:val>
                                                <p:strVal val="#ppt_y"/>
                                              </p:val>
                                            </p:tav>
                                          </p:tavLst>
                                        </p:anim>
                                      </p:childTnLst>
                                    </p:cTn>
                                  </p:par>
                                </p:childTnLst>
                              </p:cTn>
                            </p:par>
                            <p:par>
                              <p:cTn id="161" fill="hold">
                                <p:stCondLst>
                                  <p:cond delay="14500"/>
                                </p:stCondLst>
                                <p:childTnLst>
                                  <p:par>
                                    <p:cTn id="162" presetID="42" presetClass="entr" presetSubtype="0" fill="hold" grpId="0" nodeType="afterEffect">
                                      <p:stCondLst>
                                        <p:cond delay="0"/>
                                      </p:stCondLst>
                                      <p:childTnLst>
                                        <p:set>
                                          <p:cBhvr>
                                            <p:cTn id="163" dur="1" fill="hold">
                                              <p:stCondLst>
                                                <p:cond delay="0"/>
                                              </p:stCondLst>
                                            </p:cTn>
                                            <p:tgtEl>
                                              <p:spTgt spid="69"/>
                                            </p:tgtEl>
                                            <p:attrNameLst>
                                              <p:attrName>style.visibility</p:attrName>
                                            </p:attrNameLst>
                                          </p:cBhvr>
                                          <p:to>
                                            <p:strVal val="visible"/>
                                          </p:to>
                                        </p:set>
                                        <p:animEffect transition="in" filter="fade">
                                          <p:cBhvr>
                                            <p:cTn id="164" dur="100"/>
                                            <p:tgtEl>
                                              <p:spTgt spid="69"/>
                                            </p:tgtEl>
                                          </p:cBhvr>
                                        </p:animEffect>
                                        <p:anim calcmode="lin" valueType="num">
                                          <p:cBhvr>
                                            <p:cTn id="165" dur="100" fill="hold"/>
                                            <p:tgtEl>
                                              <p:spTgt spid="69"/>
                                            </p:tgtEl>
                                            <p:attrNameLst>
                                              <p:attrName>ppt_x</p:attrName>
                                            </p:attrNameLst>
                                          </p:cBhvr>
                                          <p:tavLst>
                                            <p:tav tm="0">
                                              <p:val>
                                                <p:strVal val="#ppt_x"/>
                                              </p:val>
                                            </p:tav>
                                            <p:tav tm="100000">
                                              <p:val>
                                                <p:strVal val="#ppt_x"/>
                                              </p:val>
                                            </p:tav>
                                          </p:tavLst>
                                        </p:anim>
                                        <p:anim calcmode="lin" valueType="num">
                                          <p:cBhvr>
                                            <p:cTn id="166" dur="100" fill="hold"/>
                                            <p:tgtEl>
                                              <p:spTgt spid="69"/>
                                            </p:tgtEl>
                                            <p:attrNameLst>
                                              <p:attrName>ppt_y</p:attrName>
                                            </p:attrNameLst>
                                          </p:cBhvr>
                                          <p:tavLst>
                                            <p:tav tm="0">
                                              <p:val>
                                                <p:strVal val="#ppt_y+.1"/>
                                              </p:val>
                                            </p:tav>
                                            <p:tav tm="100000">
                                              <p:val>
                                                <p:strVal val="#ppt_y"/>
                                              </p:val>
                                            </p:tav>
                                          </p:tavLst>
                                        </p:anim>
                                      </p:childTnLst>
                                    </p:cTn>
                                  </p:par>
                                </p:childTnLst>
                              </p:cTn>
                            </p:par>
                            <p:par>
                              <p:cTn id="167" fill="hold">
                                <p:stCondLst>
                                  <p:cond delay="15000"/>
                                </p:stCondLst>
                                <p:childTnLst>
                                  <p:par>
                                    <p:cTn id="168" presetID="42" presetClass="entr" presetSubtype="0" fill="hold" grpId="0" nodeType="afterEffect">
                                      <p:stCondLst>
                                        <p:cond delay="0"/>
                                      </p:stCondLst>
                                      <p:childTnLst>
                                        <p:set>
                                          <p:cBhvr>
                                            <p:cTn id="169" dur="1" fill="hold">
                                              <p:stCondLst>
                                                <p:cond delay="0"/>
                                              </p:stCondLst>
                                            </p:cTn>
                                            <p:tgtEl>
                                              <p:spTgt spid="61"/>
                                            </p:tgtEl>
                                            <p:attrNameLst>
                                              <p:attrName>style.visibility</p:attrName>
                                            </p:attrNameLst>
                                          </p:cBhvr>
                                          <p:to>
                                            <p:strVal val="visible"/>
                                          </p:to>
                                        </p:set>
                                        <p:animEffect transition="in" filter="fade">
                                          <p:cBhvr>
                                            <p:cTn id="170" dur="100"/>
                                            <p:tgtEl>
                                              <p:spTgt spid="61"/>
                                            </p:tgtEl>
                                          </p:cBhvr>
                                        </p:animEffect>
                                        <p:anim calcmode="lin" valueType="num">
                                          <p:cBhvr>
                                            <p:cTn id="171" dur="100" fill="hold"/>
                                            <p:tgtEl>
                                              <p:spTgt spid="61"/>
                                            </p:tgtEl>
                                            <p:attrNameLst>
                                              <p:attrName>ppt_x</p:attrName>
                                            </p:attrNameLst>
                                          </p:cBhvr>
                                          <p:tavLst>
                                            <p:tav tm="0">
                                              <p:val>
                                                <p:strVal val="#ppt_x"/>
                                              </p:val>
                                            </p:tav>
                                            <p:tav tm="100000">
                                              <p:val>
                                                <p:strVal val="#ppt_x"/>
                                              </p:val>
                                            </p:tav>
                                          </p:tavLst>
                                        </p:anim>
                                        <p:anim calcmode="lin" valueType="num">
                                          <p:cBhvr>
                                            <p:cTn id="172" dur="100" fill="hold"/>
                                            <p:tgtEl>
                                              <p:spTgt spid="61"/>
                                            </p:tgtEl>
                                            <p:attrNameLst>
                                              <p:attrName>ppt_y</p:attrName>
                                            </p:attrNameLst>
                                          </p:cBhvr>
                                          <p:tavLst>
                                            <p:tav tm="0">
                                              <p:val>
                                                <p:strVal val="#ppt_y+.1"/>
                                              </p:val>
                                            </p:tav>
                                            <p:tav tm="100000">
                                              <p:val>
                                                <p:strVal val="#ppt_y"/>
                                              </p:val>
                                            </p:tav>
                                          </p:tavLst>
                                        </p:anim>
                                      </p:childTnLst>
                                    </p:cTn>
                                  </p:par>
                                </p:childTnLst>
                              </p:cTn>
                            </p:par>
                            <p:par>
                              <p:cTn id="173" fill="hold">
                                <p:stCondLst>
                                  <p:cond delay="15500"/>
                                </p:stCondLst>
                                <p:childTnLst>
                                  <p:par>
                                    <p:cTn id="174" presetID="42" presetClass="entr" presetSubtype="0" fill="hold" grpId="0" nodeType="afterEffect">
                                      <p:stCondLst>
                                        <p:cond delay="0"/>
                                      </p:stCondLst>
                                      <p:childTnLst>
                                        <p:set>
                                          <p:cBhvr>
                                            <p:cTn id="175" dur="1" fill="hold">
                                              <p:stCondLst>
                                                <p:cond delay="0"/>
                                              </p:stCondLst>
                                            </p:cTn>
                                            <p:tgtEl>
                                              <p:spTgt spid="70"/>
                                            </p:tgtEl>
                                            <p:attrNameLst>
                                              <p:attrName>style.visibility</p:attrName>
                                            </p:attrNameLst>
                                          </p:cBhvr>
                                          <p:to>
                                            <p:strVal val="visible"/>
                                          </p:to>
                                        </p:set>
                                        <p:animEffect transition="in" filter="fade">
                                          <p:cBhvr>
                                            <p:cTn id="176" dur="100"/>
                                            <p:tgtEl>
                                              <p:spTgt spid="70"/>
                                            </p:tgtEl>
                                          </p:cBhvr>
                                        </p:animEffect>
                                        <p:anim calcmode="lin" valueType="num">
                                          <p:cBhvr>
                                            <p:cTn id="177" dur="100" fill="hold"/>
                                            <p:tgtEl>
                                              <p:spTgt spid="70"/>
                                            </p:tgtEl>
                                            <p:attrNameLst>
                                              <p:attrName>ppt_x</p:attrName>
                                            </p:attrNameLst>
                                          </p:cBhvr>
                                          <p:tavLst>
                                            <p:tav tm="0">
                                              <p:val>
                                                <p:strVal val="#ppt_x"/>
                                              </p:val>
                                            </p:tav>
                                            <p:tav tm="100000">
                                              <p:val>
                                                <p:strVal val="#ppt_x"/>
                                              </p:val>
                                            </p:tav>
                                          </p:tavLst>
                                        </p:anim>
                                        <p:anim calcmode="lin" valueType="num">
                                          <p:cBhvr>
                                            <p:cTn id="178" dur="100" fill="hold"/>
                                            <p:tgtEl>
                                              <p:spTgt spid="70"/>
                                            </p:tgtEl>
                                            <p:attrNameLst>
                                              <p:attrName>ppt_y</p:attrName>
                                            </p:attrNameLst>
                                          </p:cBhvr>
                                          <p:tavLst>
                                            <p:tav tm="0">
                                              <p:val>
                                                <p:strVal val="#ppt_y+.1"/>
                                              </p:val>
                                            </p:tav>
                                            <p:tav tm="100000">
                                              <p:val>
                                                <p:strVal val="#ppt_y"/>
                                              </p:val>
                                            </p:tav>
                                          </p:tavLst>
                                        </p:anim>
                                      </p:childTnLst>
                                    </p:cTn>
                                  </p:par>
                                </p:childTnLst>
                              </p:cTn>
                            </p:par>
                            <p:par>
                              <p:cTn id="179" fill="hold">
                                <p:stCondLst>
                                  <p:cond delay="16000"/>
                                </p:stCondLst>
                                <p:childTnLst>
                                  <p:par>
                                    <p:cTn id="180" presetID="42" presetClass="entr" presetSubtype="0" fill="hold" grpId="0" nodeType="afterEffect">
                                      <p:stCondLst>
                                        <p:cond delay="0"/>
                                      </p:stCondLst>
                                      <p:childTnLst>
                                        <p:set>
                                          <p:cBhvr>
                                            <p:cTn id="181" dur="1" fill="hold">
                                              <p:stCondLst>
                                                <p:cond delay="0"/>
                                              </p:stCondLst>
                                            </p:cTn>
                                            <p:tgtEl>
                                              <p:spTgt spid="62"/>
                                            </p:tgtEl>
                                            <p:attrNameLst>
                                              <p:attrName>style.visibility</p:attrName>
                                            </p:attrNameLst>
                                          </p:cBhvr>
                                          <p:to>
                                            <p:strVal val="visible"/>
                                          </p:to>
                                        </p:set>
                                        <p:animEffect transition="in" filter="fade">
                                          <p:cBhvr>
                                            <p:cTn id="182" dur="100"/>
                                            <p:tgtEl>
                                              <p:spTgt spid="62"/>
                                            </p:tgtEl>
                                          </p:cBhvr>
                                        </p:animEffect>
                                        <p:anim calcmode="lin" valueType="num">
                                          <p:cBhvr>
                                            <p:cTn id="183" dur="100" fill="hold"/>
                                            <p:tgtEl>
                                              <p:spTgt spid="62"/>
                                            </p:tgtEl>
                                            <p:attrNameLst>
                                              <p:attrName>ppt_x</p:attrName>
                                            </p:attrNameLst>
                                          </p:cBhvr>
                                          <p:tavLst>
                                            <p:tav tm="0">
                                              <p:val>
                                                <p:strVal val="#ppt_x"/>
                                              </p:val>
                                            </p:tav>
                                            <p:tav tm="100000">
                                              <p:val>
                                                <p:strVal val="#ppt_x"/>
                                              </p:val>
                                            </p:tav>
                                          </p:tavLst>
                                        </p:anim>
                                        <p:anim calcmode="lin" valueType="num">
                                          <p:cBhvr>
                                            <p:cTn id="184" dur="100" fill="hold"/>
                                            <p:tgtEl>
                                              <p:spTgt spid="62"/>
                                            </p:tgtEl>
                                            <p:attrNameLst>
                                              <p:attrName>ppt_y</p:attrName>
                                            </p:attrNameLst>
                                          </p:cBhvr>
                                          <p:tavLst>
                                            <p:tav tm="0">
                                              <p:val>
                                                <p:strVal val="#ppt_y+.1"/>
                                              </p:val>
                                            </p:tav>
                                            <p:tav tm="100000">
                                              <p:val>
                                                <p:strVal val="#ppt_y"/>
                                              </p:val>
                                            </p:tav>
                                          </p:tavLst>
                                        </p:anim>
                                      </p:childTnLst>
                                    </p:cTn>
                                  </p:par>
                                </p:childTnLst>
                              </p:cTn>
                            </p:par>
                            <p:par>
                              <p:cTn id="185" fill="hold">
                                <p:stCondLst>
                                  <p:cond delay="16500"/>
                                </p:stCondLst>
                                <p:childTnLst>
                                  <p:par>
                                    <p:cTn id="186" presetID="42" presetClass="entr" presetSubtype="0" fill="hold" grpId="0" nodeType="afterEffect">
                                      <p:stCondLst>
                                        <p:cond delay="0"/>
                                      </p:stCondLst>
                                      <p:childTnLst>
                                        <p:set>
                                          <p:cBhvr>
                                            <p:cTn id="187" dur="1" fill="hold">
                                              <p:stCondLst>
                                                <p:cond delay="0"/>
                                              </p:stCondLst>
                                            </p:cTn>
                                            <p:tgtEl>
                                              <p:spTgt spid="71"/>
                                            </p:tgtEl>
                                            <p:attrNameLst>
                                              <p:attrName>style.visibility</p:attrName>
                                            </p:attrNameLst>
                                          </p:cBhvr>
                                          <p:to>
                                            <p:strVal val="visible"/>
                                          </p:to>
                                        </p:set>
                                        <p:animEffect transition="in" filter="fade">
                                          <p:cBhvr>
                                            <p:cTn id="188" dur="100"/>
                                            <p:tgtEl>
                                              <p:spTgt spid="71"/>
                                            </p:tgtEl>
                                          </p:cBhvr>
                                        </p:animEffect>
                                        <p:anim calcmode="lin" valueType="num">
                                          <p:cBhvr>
                                            <p:cTn id="189" dur="100" fill="hold"/>
                                            <p:tgtEl>
                                              <p:spTgt spid="71"/>
                                            </p:tgtEl>
                                            <p:attrNameLst>
                                              <p:attrName>ppt_x</p:attrName>
                                            </p:attrNameLst>
                                          </p:cBhvr>
                                          <p:tavLst>
                                            <p:tav tm="0">
                                              <p:val>
                                                <p:strVal val="#ppt_x"/>
                                              </p:val>
                                            </p:tav>
                                            <p:tav tm="100000">
                                              <p:val>
                                                <p:strVal val="#ppt_x"/>
                                              </p:val>
                                            </p:tav>
                                          </p:tavLst>
                                        </p:anim>
                                        <p:anim calcmode="lin" valueType="num">
                                          <p:cBhvr>
                                            <p:cTn id="190" dur="100" fill="hold"/>
                                            <p:tgtEl>
                                              <p:spTgt spid="71"/>
                                            </p:tgtEl>
                                            <p:attrNameLst>
                                              <p:attrName>ppt_y</p:attrName>
                                            </p:attrNameLst>
                                          </p:cBhvr>
                                          <p:tavLst>
                                            <p:tav tm="0">
                                              <p:val>
                                                <p:strVal val="#ppt_y+.1"/>
                                              </p:val>
                                            </p:tav>
                                            <p:tav tm="100000">
                                              <p:val>
                                                <p:strVal val="#ppt_y"/>
                                              </p:val>
                                            </p:tav>
                                          </p:tavLst>
                                        </p:anim>
                                      </p:childTnLst>
                                    </p:cTn>
                                  </p:par>
                                </p:childTnLst>
                              </p:cTn>
                            </p:par>
                            <p:par>
                              <p:cTn id="191" fill="hold">
                                <p:stCondLst>
                                  <p:cond delay="17000"/>
                                </p:stCondLst>
                                <p:childTnLst>
                                  <p:par>
                                    <p:cTn id="192" presetID="2" presetClass="entr" presetSubtype="2" fill="hold" grpId="0" nodeType="afterEffect">
                                      <p:stCondLst>
                                        <p:cond delay="0"/>
                                      </p:stCondLst>
                                      <p:childTnLst>
                                        <p:set>
                                          <p:cBhvr>
                                            <p:cTn id="193" dur="1" fill="hold">
                                              <p:stCondLst>
                                                <p:cond delay="0"/>
                                              </p:stCondLst>
                                            </p:cTn>
                                            <p:tgtEl>
                                              <p:spTgt spid="87"/>
                                            </p:tgtEl>
                                            <p:attrNameLst>
                                              <p:attrName>style.visibility</p:attrName>
                                            </p:attrNameLst>
                                          </p:cBhvr>
                                          <p:to>
                                            <p:strVal val="visible"/>
                                          </p:to>
                                        </p:set>
                                        <p:anim calcmode="lin" valueType="num">
                                          <p:cBhvr additive="base">
                                            <p:cTn id="194" dur="300" fill="hold"/>
                                            <p:tgtEl>
                                              <p:spTgt spid="87"/>
                                            </p:tgtEl>
                                            <p:attrNameLst>
                                              <p:attrName>ppt_x</p:attrName>
                                            </p:attrNameLst>
                                          </p:cBhvr>
                                          <p:tavLst>
                                            <p:tav tm="0">
                                              <p:val>
                                                <p:strVal val="1+#ppt_w/2"/>
                                              </p:val>
                                            </p:tav>
                                            <p:tav tm="100000">
                                              <p:val>
                                                <p:strVal val="#ppt_x"/>
                                              </p:val>
                                            </p:tav>
                                          </p:tavLst>
                                        </p:anim>
                                        <p:anim calcmode="lin" valueType="num">
                                          <p:cBhvr additive="base">
                                            <p:cTn id="195" dur="300" fill="hold"/>
                                            <p:tgtEl>
                                              <p:spTgt spid="8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59680" y="1720169"/>
            <a:ext cx="3504824" cy="3355516"/>
            <a:chOff x="3513680" y="1931126"/>
            <a:chExt cx="5164640" cy="4944623"/>
          </a:xfrm>
        </p:grpSpPr>
        <p:pic>
          <p:nvPicPr>
            <p:cNvPr id="37" name="Picture 2" descr="E:\lizzy\PPT-by lizzy\自制PNG\iphone5-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3513680" y="1931126"/>
              <a:ext cx="5164640" cy="4926874"/>
            </a:xfrm>
            <a:prstGeom prst="rect">
              <a:avLst/>
            </a:prstGeom>
            <a:noFill/>
            <a:extLst>
              <a:ext uri="{909E8E84-426E-40DD-AFC4-6F175D3DCCD1}">
                <a14:hiddenFill xmlns:a14="http://schemas.microsoft.com/office/drawing/2010/main">
                  <a:solidFill>
                    <a:srgbClr val="FFFFFF"/>
                  </a:solidFill>
                </a14:hiddenFill>
              </a:ext>
            </a:extLst>
          </p:spPr>
        </p:pic>
        <p:sp>
          <p:nvSpPr>
            <p:cNvPr id="38" name="矩形 37"/>
            <p:cNvSpPr/>
            <p:nvPr/>
          </p:nvSpPr>
          <p:spPr>
            <a:xfrm>
              <a:off x="4405360" y="3112168"/>
              <a:ext cx="3276704" cy="3763581"/>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39" name="组合 38"/>
          <p:cNvGrpSpPr/>
          <p:nvPr/>
        </p:nvGrpSpPr>
        <p:grpSpPr>
          <a:xfrm>
            <a:off x="2441696" y="2201817"/>
            <a:ext cx="1090780" cy="1090780"/>
            <a:chOff x="3427660" y="3452388"/>
            <a:chExt cx="1484148" cy="1484148"/>
          </a:xfrm>
        </p:grpSpPr>
        <p:sp>
          <p:nvSpPr>
            <p:cNvPr id="40" name="椭圆 39"/>
            <p:cNvSpPr/>
            <p:nvPr/>
          </p:nvSpPr>
          <p:spPr>
            <a:xfrm>
              <a:off x="3427660" y="3452388"/>
              <a:ext cx="1484148" cy="1484148"/>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41" name="组合 40"/>
            <p:cNvGrpSpPr>
              <a:grpSpLocks noChangeAspect="1"/>
            </p:cNvGrpSpPr>
            <p:nvPr/>
          </p:nvGrpSpPr>
          <p:grpSpPr>
            <a:xfrm>
              <a:off x="3809886" y="3874477"/>
              <a:ext cx="719696" cy="551771"/>
              <a:chOff x="5611813" y="1835150"/>
              <a:chExt cx="285750" cy="219076"/>
            </a:xfrm>
            <a:solidFill>
              <a:schemeClr val="bg1"/>
            </a:solidFill>
          </p:grpSpPr>
          <p:sp>
            <p:nvSpPr>
              <p:cNvPr id="44" name="Freeform 57"/>
              <p:cNvSpPr/>
              <p:nvPr/>
            </p:nvSpPr>
            <p:spPr bwMode="auto">
              <a:xfrm>
                <a:off x="5611813" y="2046288"/>
                <a:ext cx="285750" cy="7938"/>
              </a:xfrm>
              <a:custGeom>
                <a:avLst/>
                <a:gdLst>
                  <a:gd name="T0" fmla="*/ 2 w 76"/>
                  <a:gd name="T1" fmla="*/ 2 h 2"/>
                  <a:gd name="T2" fmla="*/ 0 w 76"/>
                  <a:gd name="T3" fmla="*/ 1 h 2"/>
                  <a:gd name="T4" fmla="*/ 2 w 76"/>
                  <a:gd name="T5" fmla="*/ 0 h 2"/>
                  <a:gd name="T6" fmla="*/ 75 w 76"/>
                  <a:gd name="T7" fmla="*/ 0 h 2"/>
                  <a:gd name="T8" fmla="*/ 76 w 76"/>
                  <a:gd name="T9" fmla="*/ 1 h 2"/>
                  <a:gd name="T10" fmla="*/ 75 w 76"/>
                  <a:gd name="T11" fmla="*/ 2 h 2"/>
                  <a:gd name="T12" fmla="*/ 2 w 7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6" h="2">
                    <a:moveTo>
                      <a:pt x="2" y="2"/>
                    </a:moveTo>
                    <a:cubicBezTo>
                      <a:pt x="1" y="2"/>
                      <a:pt x="0" y="2"/>
                      <a:pt x="0" y="1"/>
                    </a:cubicBezTo>
                    <a:cubicBezTo>
                      <a:pt x="0" y="0"/>
                      <a:pt x="1" y="0"/>
                      <a:pt x="2" y="0"/>
                    </a:cubicBezTo>
                    <a:cubicBezTo>
                      <a:pt x="75" y="0"/>
                      <a:pt x="75" y="0"/>
                      <a:pt x="75" y="0"/>
                    </a:cubicBezTo>
                    <a:cubicBezTo>
                      <a:pt x="75" y="0"/>
                      <a:pt x="76" y="0"/>
                      <a:pt x="76" y="1"/>
                    </a:cubicBezTo>
                    <a:cubicBezTo>
                      <a:pt x="76" y="2"/>
                      <a:pt x="75" y="2"/>
                      <a:pt x="75" y="2"/>
                    </a:cubicBezTo>
                    <a:lnTo>
                      <a:pt x="2"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5" name="Rectangle 58"/>
              <p:cNvSpPr>
                <a:spLocks noChangeArrowheads="1"/>
              </p:cNvSpPr>
              <p:nvPr/>
            </p:nvSpPr>
            <p:spPr bwMode="auto">
              <a:xfrm>
                <a:off x="5648326" y="1884363"/>
                <a:ext cx="41275" cy="139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6" name="Rectangle 59"/>
              <p:cNvSpPr>
                <a:spLocks noChangeArrowheads="1"/>
              </p:cNvSpPr>
              <p:nvPr/>
            </p:nvSpPr>
            <p:spPr bwMode="auto">
              <a:xfrm>
                <a:off x="5708651" y="1835150"/>
                <a:ext cx="412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7" name="Rectangle 60"/>
              <p:cNvSpPr>
                <a:spLocks noChangeArrowheads="1"/>
              </p:cNvSpPr>
              <p:nvPr/>
            </p:nvSpPr>
            <p:spPr bwMode="auto">
              <a:xfrm>
                <a:off x="5768976" y="1895475"/>
                <a:ext cx="41275"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8" name="Rectangle 61"/>
              <p:cNvSpPr>
                <a:spLocks noChangeArrowheads="1"/>
              </p:cNvSpPr>
              <p:nvPr/>
            </p:nvSpPr>
            <p:spPr bwMode="auto">
              <a:xfrm>
                <a:off x="5829301" y="1936750"/>
                <a:ext cx="41275" cy="873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grpSp>
      </p:grpSp>
      <p:grpSp>
        <p:nvGrpSpPr>
          <p:cNvPr id="49" name="组合 48"/>
          <p:cNvGrpSpPr/>
          <p:nvPr/>
        </p:nvGrpSpPr>
        <p:grpSpPr>
          <a:xfrm>
            <a:off x="4982539" y="3364208"/>
            <a:ext cx="1090780" cy="1090780"/>
            <a:chOff x="7270150" y="4604902"/>
            <a:chExt cx="1484148" cy="1484148"/>
          </a:xfrm>
        </p:grpSpPr>
        <p:sp>
          <p:nvSpPr>
            <p:cNvPr id="50" name="椭圆 49"/>
            <p:cNvSpPr/>
            <p:nvPr/>
          </p:nvSpPr>
          <p:spPr>
            <a:xfrm>
              <a:off x="7270150" y="4604902"/>
              <a:ext cx="1484148" cy="148414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sp>
          <p:nvSpPr>
            <p:cNvPr id="51" name="椭圆形标注 16"/>
            <p:cNvSpPr/>
            <p:nvPr/>
          </p:nvSpPr>
          <p:spPr>
            <a:xfrm>
              <a:off x="7640426" y="5076976"/>
              <a:ext cx="743596" cy="540000"/>
            </a:xfrm>
            <a:prstGeom prst="wedgeEllipseCallout">
              <a:avLst>
                <a:gd name="adj1" fmla="val -38188"/>
                <a:gd name="adj2" fmla="val 618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52" name="组合 51"/>
          <p:cNvGrpSpPr/>
          <p:nvPr/>
        </p:nvGrpSpPr>
        <p:grpSpPr>
          <a:xfrm>
            <a:off x="4869092" y="1447648"/>
            <a:ext cx="1090780" cy="1090780"/>
            <a:chOff x="7270150" y="1939337"/>
            <a:chExt cx="1484148" cy="1484148"/>
          </a:xfrm>
        </p:grpSpPr>
        <p:sp>
          <p:nvSpPr>
            <p:cNvPr id="53" name="椭圆 52"/>
            <p:cNvSpPr/>
            <p:nvPr/>
          </p:nvSpPr>
          <p:spPr>
            <a:xfrm>
              <a:off x="7270150" y="1939337"/>
              <a:ext cx="1484148" cy="1484148"/>
            </a:xfrm>
            <a:prstGeom prst="ellipse">
              <a:avLst/>
            </a:pr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54" name="组合 53"/>
            <p:cNvGrpSpPr/>
            <p:nvPr/>
          </p:nvGrpSpPr>
          <p:grpSpPr>
            <a:xfrm>
              <a:off x="7628394" y="2388545"/>
              <a:ext cx="767661" cy="585733"/>
              <a:chOff x="12227116" y="4392007"/>
              <a:chExt cx="627436" cy="478740"/>
            </a:xfrm>
          </p:grpSpPr>
          <p:sp>
            <p:nvSpPr>
              <p:cNvPr id="55" name="Freeform 112"/>
              <p:cNvSpPr>
                <a:spLocks noEditPoints="1"/>
              </p:cNvSpPr>
              <p:nvPr/>
            </p:nvSpPr>
            <p:spPr bwMode="auto">
              <a:xfrm>
                <a:off x="12303279" y="4392007"/>
                <a:ext cx="482364" cy="301026"/>
              </a:xfrm>
              <a:custGeom>
                <a:avLst/>
                <a:gdLst>
                  <a:gd name="T0" fmla="*/ 52 w 56"/>
                  <a:gd name="T1" fmla="*/ 0 h 35"/>
                  <a:gd name="T2" fmla="*/ 4 w 56"/>
                  <a:gd name="T3" fmla="*/ 0 h 35"/>
                  <a:gd name="T4" fmla="*/ 0 w 56"/>
                  <a:gd name="T5" fmla="*/ 4 h 35"/>
                  <a:gd name="T6" fmla="*/ 0 w 56"/>
                  <a:gd name="T7" fmla="*/ 31 h 35"/>
                  <a:gd name="T8" fmla="*/ 4 w 56"/>
                  <a:gd name="T9" fmla="*/ 35 h 35"/>
                  <a:gd name="T10" fmla="*/ 52 w 56"/>
                  <a:gd name="T11" fmla="*/ 35 h 35"/>
                  <a:gd name="T12" fmla="*/ 56 w 56"/>
                  <a:gd name="T13" fmla="*/ 31 h 35"/>
                  <a:gd name="T14" fmla="*/ 56 w 56"/>
                  <a:gd name="T15" fmla="*/ 4 h 35"/>
                  <a:gd name="T16" fmla="*/ 52 w 56"/>
                  <a:gd name="T17" fmla="*/ 0 h 35"/>
                  <a:gd name="T18" fmla="*/ 49 w 56"/>
                  <a:gd name="T19" fmla="*/ 27 h 35"/>
                  <a:gd name="T20" fmla="*/ 46 w 56"/>
                  <a:gd name="T21" fmla="*/ 30 h 35"/>
                  <a:gd name="T22" fmla="*/ 9 w 56"/>
                  <a:gd name="T23" fmla="*/ 30 h 35"/>
                  <a:gd name="T24" fmla="*/ 6 w 56"/>
                  <a:gd name="T25" fmla="*/ 27 h 35"/>
                  <a:gd name="T26" fmla="*/ 6 w 56"/>
                  <a:gd name="T27" fmla="*/ 8 h 35"/>
                  <a:gd name="T28" fmla="*/ 9 w 56"/>
                  <a:gd name="T29" fmla="*/ 5 h 35"/>
                  <a:gd name="T30" fmla="*/ 46 w 56"/>
                  <a:gd name="T31" fmla="*/ 5 h 35"/>
                  <a:gd name="T32" fmla="*/ 49 w 56"/>
                  <a:gd name="T33" fmla="*/ 8 h 35"/>
                  <a:gd name="T34" fmla="*/ 49 w 56"/>
                  <a:gd name="T35"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35">
                    <a:moveTo>
                      <a:pt x="52" y="0"/>
                    </a:moveTo>
                    <a:cubicBezTo>
                      <a:pt x="4" y="0"/>
                      <a:pt x="4" y="0"/>
                      <a:pt x="4" y="0"/>
                    </a:cubicBezTo>
                    <a:cubicBezTo>
                      <a:pt x="2" y="0"/>
                      <a:pt x="0" y="2"/>
                      <a:pt x="0" y="4"/>
                    </a:cubicBezTo>
                    <a:cubicBezTo>
                      <a:pt x="0" y="31"/>
                      <a:pt x="0" y="31"/>
                      <a:pt x="0" y="31"/>
                    </a:cubicBezTo>
                    <a:cubicBezTo>
                      <a:pt x="0" y="33"/>
                      <a:pt x="2" y="35"/>
                      <a:pt x="4" y="35"/>
                    </a:cubicBezTo>
                    <a:cubicBezTo>
                      <a:pt x="52" y="35"/>
                      <a:pt x="52" y="35"/>
                      <a:pt x="52" y="35"/>
                    </a:cubicBezTo>
                    <a:cubicBezTo>
                      <a:pt x="54" y="35"/>
                      <a:pt x="56" y="33"/>
                      <a:pt x="56" y="31"/>
                    </a:cubicBezTo>
                    <a:cubicBezTo>
                      <a:pt x="56" y="4"/>
                      <a:pt x="56" y="4"/>
                      <a:pt x="56" y="4"/>
                    </a:cubicBezTo>
                    <a:cubicBezTo>
                      <a:pt x="56" y="2"/>
                      <a:pt x="54" y="0"/>
                      <a:pt x="52" y="0"/>
                    </a:cubicBezTo>
                    <a:close/>
                    <a:moveTo>
                      <a:pt x="49" y="27"/>
                    </a:moveTo>
                    <a:cubicBezTo>
                      <a:pt x="49" y="29"/>
                      <a:pt x="48" y="30"/>
                      <a:pt x="46" y="30"/>
                    </a:cubicBezTo>
                    <a:cubicBezTo>
                      <a:pt x="9" y="30"/>
                      <a:pt x="9" y="30"/>
                      <a:pt x="9" y="30"/>
                    </a:cubicBezTo>
                    <a:cubicBezTo>
                      <a:pt x="7" y="30"/>
                      <a:pt x="6" y="29"/>
                      <a:pt x="6" y="27"/>
                    </a:cubicBezTo>
                    <a:cubicBezTo>
                      <a:pt x="6" y="8"/>
                      <a:pt x="6" y="8"/>
                      <a:pt x="6" y="8"/>
                    </a:cubicBezTo>
                    <a:cubicBezTo>
                      <a:pt x="6" y="6"/>
                      <a:pt x="7" y="5"/>
                      <a:pt x="9" y="5"/>
                    </a:cubicBezTo>
                    <a:cubicBezTo>
                      <a:pt x="46" y="5"/>
                      <a:pt x="46" y="5"/>
                      <a:pt x="46" y="5"/>
                    </a:cubicBezTo>
                    <a:cubicBezTo>
                      <a:pt x="48" y="5"/>
                      <a:pt x="49" y="6"/>
                      <a:pt x="49" y="8"/>
                    </a:cubicBezTo>
                    <a:lnTo>
                      <a:pt x="49" y="2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56" name="Freeform 113"/>
              <p:cNvSpPr>
                <a:spLocks noEditPoints="1"/>
              </p:cNvSpPr>
              <p:nvPr/>
            </p:nvSpPr>
            <p:spPr bwMode="auto">
              <a:xfrm>
                <a:off x="12227116" y="4707540"/>
                <a:ext cx="627436" cy="163207"/>
              </a:xfrm>
              <a:custGeom>
                <a:avLst/>
                <a:gdLst>
                  <a:gd name="T0" fmla="*/ 67 w 73"/>
                  <a:gd name="T1" fmla="*/ 3 h 19"/>
                  <a:gd name="T2" fmla="*/ 63 w 73"/>
                  <a:gd name="T3" fmla="*/ 0 h 19"/>
                  <a:gd name="T4" fmla="*/ 10 w 73"/>
                  <a:gd name="T5" fmla="*/ 0 h 19"/>
                  <a:gd name="T6" fmla="*/ 7 w 73"/>
                  <a:gd name="T7" fmla="*/ 3 h 19"/>
                  <a:gd name="T8" fmla="*/ 1 w 73"/>
                  <a:gd name="T9" fmla="*/ 13 h 19"/>
                  <a:gd name="T10" fmla="*/ 73 w 73"/>
                  <a:gd name="T11" fmla="*/ 13 h 19"/>
                  <a:gd name="T12" fmla="*/ 67 w 73"/>
                  <a:gd name="T13" fmla="*/ 3 h 19"/>
                  <a:gd name="T14" fmla="*/ 25 w 73"/>
                  <a:gd name="T15" fmla="*/ 12 h 19"/>
                  <a:gd name="T16" fmla="*/ 27 w 73"/>
                  <a:gd name="T17" fmla="*/ 9 h 19"/>
                  <a:gd name="T18" fmla="*/ 47 w 73"/>
                  <a:gd name="T19" fmla="*/ 9 h 19"/>
                  <a:gd name="T20" fmla="*/ 48 w 73"/>
                  <a:gd name="T21" fmla="*/ 12 h 19"/>
                  <a:gd name="T22" fmla="*/ 25 w 73"/>
                  <a:gd name="T23" fmla="*/ 12 h 19"/>
                  <a:gd name="T24" fmla="*/ 62 w 73"/>
                  <a:gd name="T25" fmla="*/ 7 h 19"/>
                  <a:gd name="T26" fmla="*/ 12 w 73"/>
                  <a:gd name="T27" fmla="*/ 7 h 19"/>
                  <a:gd name="T28" fmla="*/ 9 w 73"/>
                  <a:gd name="T29" fmla="*/ 6 h 19"/>
                  <a:gd name="T30" fmla="*/ 10 w 73"/>
                  <a:gd name="T31" fmla="*/ 3 h 19"/>
                  <a:gd name="T32" fmla="*/ 13 w 73"/>
                  <a:gd name="T33" fmla="*/ 2 h 19"/>
                  <a:gd name="T34" fmla="*/ 61 w 73"/>
                  <a:gd name="T35" fmla="*/ 2 h 19"/>
                  <a:gd name="T36" fmla="*/ 63 w 73"/>
                  <a:gd name="T37" fmla="*/ 3 h 19"/>
                  <a:gd name="T38" fmla="*/ 65 w 73"/>
                  <a:gd name="T39" fmla="*/ 6 h 19"/>
                  <a:gd name="T40" fmla="*/ 62 w 73"/>
                  <a:gd name="T41" fmla="*/ 7 h 19"/>
                  <a:gd name="T42" fmla="*/ 0 w 73"/>
                  <a:gd name="T43" fmla="*/ 15 h 19"/>
                  <a:gd name="T44" fmla="*/ 3 w 73"/>
                  <a:gd name="T45" fmla="*/ 19 h 19"/>
                  <a:gd name="T46" fmla="*/ 70 w 73"/>
                  <a:gd name="T47" fmla="*/ 19 h 19"/>
                  <a:gd name="T48" fmla="*/ 73 w 73"/>
                  <a:gd name="T49" fmla="*/ 15 h 19"/>
                  <a:gd name="T50" fmla="*/ 0 w 73"/>
                  <a:gd name="T5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9">
                    <a:moveTo>
                      <a:pt x="67" y="3"/>
                    </a:moveTo>
                    <a:cubicBezTo>
                      <a:pt x="66" y="1"/>
                      <a:pt x="65" y="0"/>
                      <a:pt x="63" y="0"/>
                    </a:cubicBezTo>
                    <a:cubicBezTo>
                      <a:pt x="10" y="0"/>
                      <a:pt x="10" y="0"/>
                      <a:pt x="10" y="0"/>
                    </a:cubicBezTo>
                    <a:cubicBezTo>
                      <a:pt x="8" y="0"/>
                      <a:pt x="7" y="2"/>
                      <a:pt x="7" y="3"/>
                    </a:cubicBezTo>
                    <a:cubicBezTo>
                      <a:pt x="1" y="13"/>
                      <a:pt x="1" y="13"/>
                      <a:pt x="1" y="13"/>
                    </a:cubicBezTo>
                    <a:cubicBezTo>
                      <a:pt x="73" y="13"/>
                      <a:pt x="73" y="13"/>
                      <a:pt x="73" y="13"/>
                    </a:cubicBezTo>
                    <a:lnTo>
                      <a:pt x="67" y="3"/>
                    </a:lnTo>
                    <a:close/>
                    <a:moveTo>
                      <a:pt x="25" y="12"/>
                    </a:moveTo>
                    <a:cubicBezTo>
                      <a:pt x="27" y="9"/>
                      <a:pt x="27" y="9"/>
                      <a:pt x="27" y="9"/>
                    </a:cubicBezTo>
                    <a:cubicBezTo>
                      <a:pt x="47" y="9"/>
                      <a:pt x="47" y="9"/>
                      <a:pt x="47" y="9"/>
                    </a:cubicBezTo>
                    <a:cubicBezTo>
                      <a:pt x="48" y="12"/>
                      <a:pt x="48" y="12"/>
                      <a:pt x="48" y="12"/>
                    </a:cubicBezTo>
                    <a:lnTo>
                      <a:pt x="25" y="12"/>
                    </a:lnTo>
                    <a:close/>
                    <a:moveTo>
                      <a:pt x="62" y="7"/>
                    </a:moveTo>
                    <a:cubicBezTo>
                      <a:pt x="12" y="7"/>
                      <a:pt x="12" y="7"/>
                      <a:pt x="12" y="7"/>
                    </a:cubicBezTo>
                    <a:cubicBezTo>
                      <a:pt x="9" y="7"/>
                      <a:pt x="9" y="6"/>
                      <a:pt x="9" y="6"/>
                    </a:cubicBezTo>
                    <a:cubicBezTo>
                      <a:pt x="10" y="3"/>
                      <a:pt x="10" y="3"/>
                      <a:pt x="10" y="3"/>
                    </a:cubicBezTo>
                    <a:cubicBezTo>
                      <a:pt x="11" y="3"/>
                      <a:pt x="11" y="2"/>
                      <a:pt x="13" y="2"/>
                    </a:cubicBezTo>
                    <a:cubicBezTo>
                      <a:pt x="61" y="2"/>
                      <a:pt x="61" y="2"/>
                      <a:pt x="61" y="2"/>
                    </a:cubicBezTo>
                    <a:cubicBezTo>
                      <a:pt x="62" y="2"/>
                      <a:pt x="63" y="3"/>
                      <a:pt x="63" y="3"/>
                    </a:cubicBezTo>
                    <a:cubicBezTo>
                      <a:pt x="65" y="6"/>
                      <a:pt x="65" y="6"/>
                      <a:pt x="65" y="6"/>
                    </a:cubicBezTo>
                    <a:cubicBezTo>
                      <a:pt x="65" y="6"/>
                      <a:pt x="65" y="7"/>
                      <a:pt x="62" y="7"/>
                    </a:cubicBezTo>
                    <a:close/>
                    <a:moveTo>
                      <a:pt x="0" y="15"/>
                    </a:moveTo>
                    <a:cubicBezTo>
                      <a:pt x="0" y="16"/>
                      <a:pt x="2" y="17"/>
                      <a:pt x="3" y="19"/>
                    </a:cubicBezTo>
                    <a:cubicBezTo>
                      <a:pt x="70" y="19"/>
                      <a:pt x="70" y="19"/>
                      <a:pt x="70" y="19"/>
                    </a:cubicBezTo>
                    <a:cubicBezTo>
                      <a:pt x="72" y="17"/>
                      <a:pt x="73" y="16"/>
                      <a:pt x="73" y="15"/>
                    </a:cubicBez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grpSp>
      </p:grpSp>
      <p:sp>
        <p:nvSpPr>
          <p:cNvPr id="57" name="矩形 56"/>
          <p:cNvSpPr/>
          <p:nvPr/>
        </p:nvSpPr>
        <p:spPr>
          <a:xfrm>
            <a:off x="734448" y="2406040"/>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58" name="矩形 57"/>
          <p:cNvSpPr/>
          <p:nvPr/>
        </p:nvSpPr>
        <p:spPr>
          <a:xfrm>
            <a:off x="477655" y="2765815"/>
            <a:ext cx="1922313" cy="472437"/>
          </a:xfrm>
          <a:prstGeom prst="rect">
            <a:avLst/>
          </a:prstGeom>
        </p:spPr>
        <p:txBody>
          <a:bodyPr wrap="square">
            <a:spAutoFit/>
          </a:bodyPr>
          <a:lstStyle/>
          <a:p>
            <a:pPr algn="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59" name="矩形 58"/>
          <p:cNvSpPr/>
          <p:nvPr/>
        </p:nvSpPr>
        <p:spPr>
          <a:xfrm>
            <a:off x="6246213" y="1396600"/>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0" name="矩形 59"/>
          <p:cNvSpPr/>
          <p:nvPr/>
        </p:nvSpPr>
        <p:spPr>
          <a:xfrm>
            <a:off x="6254033" y="1724050"/>
            <a:ext cx="1922313"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61" name="矩形 60"/>
          <p:cNvSpPr/>
          <p:nvPr/>
        </p:nvSpPr>
        <p:spPr>
          <a:xfrm>
            <a:off x="6299136" y="3373339"/>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2" name="矩形 61"/>
          <p:cNvSpPr/>
          <p:nvPr/>
        </p:nvSpPr>
        <p:spPr>
          <a:xfrm>
            <a:off x="6303865" y="3700789"/>
            <a:ext cx="1922313"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63"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4" name="矩形 63"/>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662">
        <p15:prstTrans prst="pageCurlDouble"/>
      </p:transition>
    </mc:Choice>
    <mc:Fallback xmlns="">
      <p:transition spd="slow" advClick="0" advTm="566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anim calcmode="lin" valueType="num">
                                      <p:cBhvr>
                                        <p:cTn id="8" dur="750" fill="hold"/>
                                        <p:tgtEl>
                                          <p:spTgt spid="36"/>
                                        </p:tgtEl>
                                        <p:attrNameLst>
                                          <p:attrName>ppt_x</p:attrName>
                                        </p:attrNameLst>
                                      </p:cBhvr>
                                      <p:tavLst>
                                        <p:tav tm="0">
                                          <p:val>
                                            <p:strVal val="#ppt_x"/>
                                          </p:val>
                                        </p:tav>
                                        <p:tav tm="100000">
                                          <p:val>
                                            <p:strVal val="#ppt_x"/>
                                          </p:val>
                                        </p:tav>
                                      </p:tavLst>
                                    </p:anim>
                                    <p:anim calcmode="lin" valueType="num">
                                      <p:cBhvr>
                                        <p:cTn id="9" dur="75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nodeType="after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p:cTn id="13" dur="500" fill="hold"/>
                                        <p:tgtEl>
                                          <p:spTgt spid="39"/>
                                        </p:tgtEl>
                                        <p:attrNameLst>
                                          <p:attrName>ppt_w</p:attrName>
                                        </p:attrNameLst>
                                      </p:cBhvr>
                                      <p:tavLst>
                                        <p:tav tm="0">
                                          <p:val>
                                            <p:fltVal val="0"/>
                                          </p:val>
                                        </p:tav>
                                        <p:tav tm="100000">
                                          <p:val>
                                            <p:strVal val="#ppt_w"/>
                                          </p:val>
                                        </p:tav>
                                      </p:tavLst>
                                    </p:anim>
                                    <p:anim calcmode="lin" valueType="num">
                                      <p:cBhvr>
                                        <p:cTn id="14" dur="500" fill="hold"/>
                                        <p:tgtEl>
                                          <p:spTgt spid="39"/>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23" presetClass="entr" presetSubtype="16" fill="hold" grpId="0" nodeType="afterEffect">
                                  <p:stCondLst>
                                    <p:cond delay="0"/>
                                  </p:stCondLst>
                                  <p:iterate type="lt">
                                    <p:tmPct val="10000"/>
                                  </p:iterate>
                                  <p:childTnLst>
                                    <p:set>
                                      <p:cBhvr>
                                        <p:cTn id="17" dur="1" fill="hold">
                                          <p:stCondLst>
                                            <p:cond delay="0"/>
                                          </p:stCondLst>
                                        </p:cTn>
                                        <p:tgtEl>
                                          <p:spTgt spid="57"/>
                                        </p:tgtEl>
                                        <p:attrNameLst>
                                          <p:attrName>style.visibility</p:attrName>
                                        </p:attrNameLst>
                                      </p:cBhvr>
                                      <p:to>
                                        <p:strVal val="visible"/>
                                      </p:to>
                                    </p:set>
                                    <p:anim calcmode="lin" valueType="num">
                                      <p:cBhvr>
                                        <p:cTn id="18" dur="250" fill="hold"/>
                                        <p:tgtEl>
                                          <p:spTgt spid="57"/>
                                        </p:tgtEl>
                                        <p:attrNameLst>
                                          <p:attrName>ppt_w</p:attrName>
                                        </p:attrNameLst>
                                      </p:cBhvr>
                                      <p:tavLst>
                                        <p:tav tm="0">
                                          <p:val>
                                            <p:fltVal val="0"/>
                                          </p:val>
                                        </p:tav>
                                        <p:tav tm="100000">
                                          <p:val>
                                            <p:strVal val="#ppt_w"/>
                                          </p:val>
                                        </p:tav>
                                      </p:tavLst>
                                    </p:anim>
                                    <p:anim calcmode="lin" valueType="num">
                                      <p:cBhvr>
                                        <p:cTn id="19" dur="250" fill="hold"/>
                                        <p:tgtEl>
                                          <p:spTgt spid="57"/>
                                        </p:tgtEl>
                                        <p:attrNameLst>
                                          <p:attrName>ppt_h</p:attrName>
                                        </p:attrNameLst>
                                      </p:cBhvr>
                                      <p:tavLst>
                                        <p:tav tm="0">
                                          <p:val>
                                            <p:fltVal val="0"/>
                                          </p:val>
                                        </p:tav>
                                        <p:tav tm="100000">
                                          <p:val>
                                            <p:strVal val="#ppt_h"/>
                                          </p:val>
                                        </p:tav>
                                      </p:tavLst>
                                    </p:anim>
                                  </p:childTnLst>
                                </p:cTn>
                              </p:par>
                            </p:childTnLst>
                          </p:cTn>
                        </p:par>
                        <p:par>
                          <p:cTn id="20" fill="hold">
                            <p:stCondLst>
                              <p:cond delay="1625"/>
                            </p:stCondLst>
                            <p:childTnLst>
                              <p:par>
                                <p:cTn id="21" presetID="14" presetClass="entr" presetSubtype="10" fill="hold" grpId="0" nodeType="after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randombar(horizontal)">
                                      <p:cBhvr>
                                        <p:cTn id="23" dur="250"/>
                                        <p:tgtEl>
                                          <p:spTgt spid="58"/>
                                        </p:tgtEl>
                                      </p:cBhvr>
                                    </p:animEffect>
                                  </p:childTnLst>
                                </p:cTn>
                              </p:par>
                            </p:childTnLst>
                          </p:cTn>
                        </p:par>
                        <p:par>
                          <p:cTn id="24" fill="hold">
                            <p:stCondLst>
                              <p:cond delay="2125"/>
                            </p:stCondLst>
                            <p:childTnLst>
                              <p:par>
                                <p:cTn id="25" presetID="23" presetClass="entr" presetSubtype="16" fill="hold" nodeType="afterEffect">
                                  <p:stCondLst>
                                    <p:cond delay="0"/>
                                  </p:stCondLst>
                                  <p:childTnLst>
                                    <p:set>
                                      <p:cBhvr>
                                        <p:cTn id="26" dur="1" fill="hold">
                                          <p:stCondLst>
                                            <p:cond delay="0"/>
                                          </p:stCondLst>
                                        </p:cTn>
                                        <p:tgtEl>
                                          <p:spTgt spid="52"/>
                                        </p:tgtEl>
                                        <p:attrNameLst>
                                          <p:attrName>style.visibility</p:attrName>
                                        </p:attrNameLst>
                                      </p:cBhvr>
                                      <p:to>
                                        <p:strVal val="visible"/>
                                      </p:to>
                                    </p:set>
                                    <p:anim calcmode="lin" valueType="num">
                                      <p:cBhvr>
                                        <p:cTn id="27" dur="500" fill="hold"/>
                                        <p:tgtEl>
                                          <p:spTgt spid="52"/>
                                        </p:tgtEl>
                                        <p:attrNameLst>
                                          <p:attrName>ppt_w</p:attrName>
                                        </p:attrNameLst>
                                      </p:cBhvr>
                                      <p:tavLst>
                                        <p:tav tm="0">
                                          <p:val>
                                            <p:fltVal val="0"/>
                                          </p:val>
                                        </p:tav>
                                        <p:tav tm="100000">
                                          <p:val>
                                            <p:strVal val="#ppt_w"/>
                                          </p:val>
                                        </p:tav>
                                      </p:tavLst>
                                    </p:anim>
                                    <p:anim calcmode="lin" valueType="num">
                                      <p:cBhvr>
                                        <p:cTn id="28" dur="500" fill="hold"/>
                                        <p:tgtEl>
                                          <p:spTgt spid="52"/>
                                        </p:tgtEl>
                                        <p:attrNameLst>
                                          <p:attrName>ppt_h</p:attrName>
                                        </p:attrNameLst>
                                      </p:cBhvr>
                                      <p:tavLst>
                                        <p:tav tm="0">
                                          <p:val>
                                            <p:fltVal val="0"/>
                                          </p:val>
                                        </p:tav>
                                        <p:tav tm="100000">
                                          <p:val>
                                            <p:strVal val="#ppt_h"/>
                                          </p:val>
                                        </p:tav>
                                      </p:tavLst>
                                    </p:anim>
                                  </p:childTnLst>
                                </p:cTn>
                              </p:par>
                            </p:childTnLst>
                          </p:cTn>
                        </p:par>
                        <p:par>
                          <p:cTn id="29" fill="hold">
                            <p:stCondLst>
                              <p:cond delay="2625"/>
                            </p:stCondLst>
                            <p:childTnLst>
                              <p:par>
                                <p:cTn id="30" presetID="23" presetClass="entr" presetSubtype="16" fill="hold" grpId="0" nodeType="afterEffect">
                                  <p:stCondLst>
                                    <p:cond delay="0"/>
                                  </p:stCondLst>
                                  <p:iterate type="lt">
                                    <p:tmPct val="10000"/>
                                  </p:iterate>
                                  <p:childTnLst>
                                    <p:set>
                                      <p:cBhvr>
                                        <p:cTn id="31" dur="1" fill="hold">
                                          <p:stCondLst>
                                            <p:cond delay="0"/>
                                          </p:stCondLst>
                                        </p:cTn>
                                        <p:tgtEl>
                                          <p:spTgt spid="59"/>
                                        </p:tgtEl>
                                        <p:attrNameLst>
                                          <p:attrName>style.visibility</p:attrName>
                                        </p:attrNameLst>
                                      </p:cBhvr>
                                      <p:to>
                                        <p:strVal val="visible"/>
                                      </p:to>
                                    </p:set>
                                    <p:anim calcmode="lin" valueType="num">
                                      <p:cBhvr>
                                        <p:cTn id="32" dur="250" fill="hold"/>
                                        <p:tgtEl>
                                          <p:spTgt spid="59"/>
                                        </p:tgtEl>
                                        <p:attrNameLst>
                                          <p:attrName>ppt_w</p:attrName>
                                        </p:attrNameLst>
                                      </p:cBhvr>
                                      <p:tavLst>
                                        <p:tav tm="0">
                                          <p:val>
                                            <p:fltVal val="0"/>
                                          </p:val>
                                        </p:tav>
                                        <p:tav tm="100000">
                                          <p:val>
                                            <p:strVal val="#ppt_w"/>
                                          </p:val>
                                        </p:tav>
                                      </p:tavLst>
                                    </p:anim>
                                    <p:anim calcmode="lin" valueType="num">
                                      <p:cBhvr>
                                        <p:cTn id="33" dur="250" fill="hold"/>
                                        <p:tgtEl>
                                          <p:spTgt spid="59"/>
                                        </p:tgtEl>
                                        <p:attrNameLst>
                                          <p:attrName>ppt_h</p:attrName>
                                        </p:attrNameLst>
                                      </p:cBhvr>
                                      <p:tavLst>
                                        <p:tav tm="0">
                                          <p:val>
                                            <p:fltVal val="0"/>
                                          </p:val>
                                        </p:tav>
                                        <p:tav tm="100000">
                                          <p:val>
                                            <p:strVal val="#ppt_h"/>
                                          </p:val>
                                        </p:tav>
                                      </p:tavLst>
                                    </p:anim>
                                  </p:childTnLst>
                                </p:cTn>
                              </p:par>
                            </p:childTnLst>
                          </p:cTn>
                        </p:par>
                        <p:par>
                          <p:cTn id="34" fill="hold">
                            <p:stCondLst>
                              <p:cond delay="2750"/>
                            </p:stCondLst>
                            <p:childTnLst>
                              <p:par>
                                <p:cTn id="35" presetID="14" presetClass="entr" presetSubtype="10" fill="hold" grpId="0"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randombar(horizontal)">
                                      <p:cBhvr>
                                        <p:cTn id="37" dur="250"/>
                                        <p:tgtEl>
                                          <p:spTgt spid="60"/>
                                        </p:tgtEl>
                                      </p:cBhvr>
                                    </p:animEffect>
                                  </p:childTnLst>
                                </p:cTn>
                              </p:par>
                            </p:childTnLst>
                          </p:cTn>
                        </p:par>
                        <p:par>
                          <p:cTn id="38" fill="hold">
                            <p:stCondLst>
                              <p:cond delay="3250"/>
                            </p:stCondLst>
                            <p:childTnLst>
                              <p:par>
                                <p:cTn id="39" presetID="23" presetClass="entr" presetSubtype="16" fill="hold" nodeType="afterEffect">
                                  <p:stCondLst>
                                    <p:cond delay="0"/>
                                  </p:stCondLst>
                                  <p:childTnLst>
                                    <p:set>
                                      <p:cBhvr>
                                        <p:cTn id="40" dur="1" fill="hold">
                                          <p:stCondLst>
                                            <p:cond delay="0"/>
                                          </p:stCondLst>
                                        </p:cTn>
                                        <p:tgtEl>
                                          <p:spTgt spid="49"/>
                                        </p:tgtEl>
                                        <p:attrNameLst>
                                          <p:attrName>style.visibility</p:attrName>
                                        </p:attrNameLst>
                                      </p:cBhvr>
                                      <p:to>
                                        <p:strVal val="visible"/>
                                      </p:to>
                                    </p:set>
                                    <p:anim calcmode="lin" valueType="num">
                                      <p:cBhvr>
                                        <p:cTn id="41" dur="500" fill="hold"/>
                                        <p:tgtEl>
                                          <p:spTgt spid="49"/>
                                        </p:tgtEl>
                                        <p:attrNameLst>
                                          <p:attrName>ppt_w</p:attrName>
                                        </p:attrNameLst>
                                      </p:cBhvr>
                                      <p:tavLst>
                                        <p:tav tm="0">
                                          <p:val>
                                            <p:fltVal val="0"/>
                                          </p:val>
                                        </p:tav>
                                        <p:tav tm="100000">
                                          <p:val>
                                            <p:strVal val="#ppt_w"/>
                                          </p:val>
                                        </p:tav>
                                      </p:tavLst>
                                    </p:anim>
                                    <p:anim calcmode="lin" valueType="num">
                                      <p:cBhvr>
                                        <p:cTn id="42" dur="500" fill="hold"/>
                                        <p:tgtEl>
                                          <p:spTgt spid="49"/>
                                        </p:tgtEl>
                                        <p:attrNameLst>
                                          <p:attrName>ppt_h</p:attrName>
                                        </p:attrNameLst>
                                      </p:cBhvr>
                                      <p:tavLst>
                                        <p:tav tm="0">
                                          <p:val>
                                            <p:fltVal val="0"/>
                                          </p:val>
                                        </p:tav>
                                        <p:tav tm="100000">
                                          <p:val>
                                            <p:strVal val="#ppt_h"/>
                                          </p:val>
                                        </p:tav>
                                      </p:tavLst>
                                    </p:anim>
                                  </p:childTnLst>
                                </p:cTn>
                              </p:par>
                            </p:childTnLst>
                          </p:cTn>
                        </p:par>
                        <p:par>
                          <p:cTn id="43" fill="hold">
                            <p:stCondLst>
                              <p:cond delay="3750"/>
                            </p:stCondLst>
                            <p:childTnLst>
                              <p:par>
                                <p:cTn id="44" presetID="23" presetClass="entr" presetSubtype="16" fill="hold" grpId="0" nodeType="afterEffect">
                                  <p:stCondLst>
                                    <p:cond delay="0"/>
                                  </p:stCondLst>
                                  <p:iterate type="lt">
                                    <p:tmPct val="10000"/>
                                  </p:iterate>
                                  <p:childTnLst>
                                    <p:set>
                                      <p:cBhvr>
                                        <p:cTn id="45" dur="1" fill="hold">
                                          <p:stCondLst>
                                            <p:cond delay="0"/>
                                          </p:stCondLst>
                                        </p:cTn>
                                        <p:tgtEl>
                                          <p:spTgt spid="61"/>
                                        </p:tgtEl>
                                        <p:attrNameLst>
                                          <p:attrName>style.visibility</p:attrName>
                                        </p:attrNameLst>
                                      </p:cBhvr>
                                      <p:to>
                                        <p:strVal val="visible"/>
                                      </p:to>
                                    </p:set>
                                    <p:anim calcmode="lin" valueType="num">
                                      <p:cBhvr>
                                        <p:cTn id="46" dur="250" fill="hold"/>
                                        <p:tgtEl>
                                          <p:spTgt spid="61"/>
                                        </p:tgtEl>
                                        <p:attrNameLst>
                                          <p:attrName>ppt_w</p:attrName>
                                        </p:attrNameLst>
                                      </p:cBhvr>
                                      <p:tavLst>
                                        <p:tav tm="0">
                                          <p:val>
                                            <p:fltVal val="0"/>
                                          </p:val>
                                        </p:tav>
                                        <p:tav tm="100000">
                                          <p:val>
                                            <p:strVal val="#ppt_w"/>
                                          </p:val>
                                        </p:tav>
                                      </p:tavLst>
                                    </p:anim>
                                    <p:anim calcmode="lin" valueType="num">
                                      <p:cBhvr>
                                        <p:cTn id="47" dur="250" fill="hold"/>
                                        <p:tgtEl>
                                          <p:spTgt spid="61"/>
                                        </p:tgtEl>
                                        <p:attrNameLst>
                                          <p:attrName>ppt_h</p:attrName>
                                        </p:attrNameLst>
                                      </p:cBhvr>
                                      <p:tavLst>
                                        <p:tav tm="0">
                                          <p:val>
                                            <p:fltVal val="0"/>
                                          </p:val>
                                        </p:tav>
                                        <p:tav tm="100000">
                                          <p:val>
                                            <p:strVal val="#ppt_h"/>
                                          </p:val>
                                        </p:tav>
                                      </p:tavLst>
                                    </p:anim>
                                  </p:childTnLst>
                                </p:cTn>
                              </p:par>
                            </p:childTnLst>
                          </p:cTn>
                        </p:par>
                        <p:par>
                          <p:cTn id="48" fill="hold">
                            <p:stCondLst>
                              <p:cond delay="3875"/>
                            </p:stCondLst>
                            <p:childTnLst>
                              <p:par>
                                <p:cTn id="49" presetID="14" presetClass="entr" presetSubtype="10" fill="hold" grpId="0" nodeType="after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randombar(horizontal)">
                                      <p:cBhvr>
                                        <p:cTn id="51" dur="25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59" grpId="0"/>
      <p:bldP spid="60" grpId="0"/>
      <p:bldP spid="61" grpId="0"/>
      <p:bldP spid="62"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3</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350">
        <p:blinds dir="vert"/>
      </p:transition>
    </mc:Choice>
    <mc:Fallback xmlns="">
      <p:transition spd="slow" advClick="0" advTm="535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文本框 44"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306831" y="151299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6" name="文本框 4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3684853" y="154255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7" name="文本框 46"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7012519" y="154255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8" name="文本框 47"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178626" y="408832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49" name="文本框 48"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5547435" y="404988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grpSp>
        <p:nvGrpSpPr>
          <p:cNvPr id="18" name="组合 17"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2009695" y="2670497"/>
            <a:ext cx="1704408" cy="764234"/>
            <a:chOff x="2707931" y="3719285"/>
            <a:chExt cx="2319068" cy="1039840"/>
          </a:xfrm>
        </p:grpSpPr>
        <p:sp>
          <p:nvSpPr>
            <p:cNvPr id="19" name="Freeform 6"/>
            <p:cNvSpPr/>
            <p:nvPr/>
          </p:nvSpPr>
          <p:spPr bwMode="auto">
            <a:xfrm>
              <a:off x="2707931" y="3719285"/>
              <a:ext cx="2319068"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dirty="0"/>
            </a:p>
          </p:txBody>
        </p:sp>
        <p:sp>
          <p:nvSpPr>
            <p:cNvPr id="20" name="Freeform 32"/>
            <p:cNvSpPr>
              <a:spLocks noEditPoints="1"/>
            </p:cNvSpPr>
            <p:nvPr/>
          </p:nvSpPr>
          <p:spPr bwMode="auto">
            <a:xfrm>
              <a:off x="3529694" y="3963017"/>
              <a:ext cx="675545" cy="552376"/>
            </a:xfrm>
            <a:custGeom>
              <a:avLst/>
              <a:gdLst/>
              <a:ahLst/>
              <a:cxnLst>
                <a:cxn ang="0">
                  <a:pos x="254" y="0"/>
                </a:cxn>
                <a:cxn ang="0">
                  <a:pos x="239" y="2"/>
                </a:cxn>
                <a:cxn ang="0">
                  <a:pos x="210" y="15"/>
                </a:cxn>
                <a:cxn ang="0">
                  <a:pos x="74" y="149"/>
                </a:cxn>
                <a:cxn ang="0">
                  <a:pos x="69" y="154"/>
                </a:cxn>
                <a:cxn ang="0">
                  <a:pos x="65" y="165"/>
                </a:cxn>
                <a:cxn ang="0">
                  <a:pos x="65" y="178"/>
                </a:cxn>
                <a:cxn ang="0">
                  <a:pos x="69" y="189"/>
                </a:cxn>
                <a:cxn ang="0">
                  <a:pos x="167" y="288"/>
                </a:cxn>
                <a:cxn ang="0">
                  <a:pos x="172" y="292"/>
                </a:cxn>
                <a:cxn ang="0">
                  <a:pos x="183" y="297"/>
                </a:cxn>
                <a:cxn ang="0">
                  <a:pos x="196" y="297"/>
                </a:cxn>
                <a:cxn ang="0">
                  <a:pos x="208" y="292"/>
                </a:cxn>
                <a:cxn ang="0">
                  <a:pos x="339" y="162"/>
                </a:cxn>
                <a:cxn ang="0">
                  <a:pos x="348" y="151"/>
                </a:cxn>
                <a:cxn ang="0">
                  <a:pos x="359" y="122"/>
                </a:cxn>
                <a:cxn ang="0">
                  <a:pos x="361" y="33"/>
                </a:cxn>
                <a:cxn ang="0">
                  <a:pos x="361" y="26"/>
                </a:cxn>
                <a:cxn ang="0">
                  <a:pos x="355" y="15"/>
                </a:cxn>
                <a:cxn ang="0">
                  <a:pos x="346" y="6"/>
                </a:cxn>
                <a:cxn ang="0">
                  <a:pos x="335" y="2"/>
                </a:cxn>
                <a:cxn ang="0">
                  <a:pos x="330" y="0"/>
                </a:cxn>
                <a:cxn ang="0">
                  <a:pos x="286" y="107"/>
                </a:cxn>
                <a:cxn ang="0">
                  <a:pos x="274" y="105"/>
                </a:cxn>
                <a:cxn ang="0">
                  <a:pos x="263" y="98"/>
                </a:cxn>
                <a:cxn ang="0">
                  <a:pos x="257" y="87"/>
                </a:cxn>
                <a:cxn ang="0">
                  <a:pos x="254" y="74"/>
                </a:cxn>
                <a:cxn ang="0">
                  <a:pos x="256" y="69"/>
                </a:cxn>
                <a:cxn ang="0">
                  <a:pos x="259" y="58"/>
                </a:cxn>
                <a:cxn ang="0">
                  <a:pos x="268" y="49"/>
                </a:cxn>
                <a:cxn ang="0">
                  <a:pos x="279" y="44"/>
                </a:cxn>
                <a:cxn ang="0">
                  <a:pos x="286" y="44"/>
                </a:cxn>
                <a:cxn ang="0">
                  <a:pos x="299" y="45"/>
                </a:cxn>
                <a:cxn ang="0">
                  <a:pos x="308" y="53"/>
                </a:cxn>
                <a:cxn ang="0">
                  <a:pos x="315" y="64"/>
                </a:cxn>
                <a:cxn ang="0">
                  <a:pos x="319" y="74"/>
                </a:cxn>
                <a:cxn ang="0">
                  <a:pos x="317" y="82"/>
                </a:cxn>
                <a:cxn ang="0">
                  <a:pos x="314" y="93"/>
                </a:cxn>
                <a:cxn ang="0">
                  <a:pos x="304" y="102"/>
                </a:cxn>
                <a:cxn ang="0">
                  <a:pos x="292" y="107"/>
                </a:cxn>
                <a:cxn ang="0">
                  <a:pos x="286" y="107"/>
                </a:cxn>
                <a:cxn ang="0">
                  <a:pos x="141" y="294"/>
                </a:cxn>
                <a:cxn ang="0">
                  <a:pos x="130" y="297"/>
                </a:cxn>
                <a:cxn ang="0">
                  <a:pos x="112" y="294"/>
                </a:cxn>
                <a:cxn ang="0">
                  <a:pos x="9" y="194"/>
                </a:cxn>
                <a:cxn ang="0">
                  <a:pos x="5" y="189"/>
                </a:cxn>
                <a:cxn ang="0">
                  <a:pos x="0" y="178"/>
                </a:cxn>
                <a:cxn ang="0">
                  <a:pos x="0" y="165"/>
                </a:cxn>
                <a:cxn ang="0">
                  <a:pos x="5" y="154"/>
                </a:cxn>
                <a:cxn ang="0">
                  <a:pos x="136" y="24"/>
                </a:cxn>
                <a:cxn ang="0">
                  <a:pos x="147" y="15"/>
                </a:cxn>
                <a:cxn ang="0">
                  <a:pos x="176" y="2"/>
                </a:cxn>
                <a:cxn ang="0">
                  <a:pos x="27" y="163"/>
                </a:cxn>
                <a:cxn ang="0">
                  <a:pos x="23" y="167"/>
                </a:cxn>
                <a:cxn ang="0">
                  <a:pos x="23" y="176"/>
                </a:cxn>
                <a:cxn ang="0">
                  <a:pos x="27" y="180"/>
                </a:cxn>
              </a:cxnLst>
              <a:rect l="0" t="0" r="r" b="b"/>
              <a:pathLst>
                <a:path w="361" h="297">
                  <a:moveTo>
                    <a:pt x="330" y="0"/>
                  </a:moveTo>
                  <a:lnTo>
                    <a:pt x="254" y="0"/>
                  </a:lnTo>
                  <a:lnTo>
                    <a:pt x="254" y="0"/>
                  </a:lnTo>
                  <a:lnTo>
                    <a:pt x="239" y="2"/>
                  </a:lnTo>
                  <a:lnTo>
                    <a:pt x="225" y="7"/>
                  </a:lnTo>
                  <a:lnTo>
                    <a:pt x="210" y="15"/>
                  </a:lnTo>
                  <a:lnTo>
                    <a:pt x="199" y="24"/>
                  </a:lnTo>
                  <a:lnTo>
                    <a:pt x="74" y="149"/>
                  </a:lnTo>
                  <a:lnTo>
                    <a:pt x="74" y="149"/>
                  </a:lnTo>
                  <a:lnTo>
                    <a:pt x="69" y="154"/>
                  </a:lnTo>
                  <a:lnTo>
                    <a:pt x="67" y="160"/>
                  </a:lnTo>
                  <a:lnTo>
                    <a:pt x="65" y="165"/>
                  </a:lnTo>
                  <a:lnTo>
                    <a:pt x="63" y="172"/>
                  </a:lnTo>
                  <a:lnTo>
                    <a:pt x="65" y="178"/>
                  </a:lnTo>
                  <a:lnTo>
                    <a:pt x="67" y="183"/>
                  </a:lnTo>
                  <a:lnTo>
                    <a:pt x="69" y="189"/>
                  </a:lnTo>
                  <a:lnTo>
                    <a:pt x="74" y="194"/>
                  </a:lnTo>
                  <a:lnTo>
                    <a:pt x="167" y="288"/>
                  </a:lnTo>
                  <a:lnTo>
                    <a:pt x="167" y="288"/>
                  </a:lnTo>
                  <a:lnTo>
                    <a:pt x="172" y="292"/>
                  </a:lnTo>
                  <a:lnTo>
                    <a:pt x="178" y="296"/>
                  </a:lnTo>
                  <a:lnTo>
                    <a:pt x="183" y="297"/>
                  </a:lnTo>
                  <a:lnTo>
                    <a:pt x="190" y="297"/>
                  </a:lnTo>
                  <a:lnTo>
                    <a:pt x="196" y="297"/>
                  </a:lnTo>
                  <a:lnTo>
                    <a:pt x="201" y="296"/>
                  </a:lnTo>
                  <a:lnTo>
                    <a:pt x="208" y="292"/>
                  </a:lnTo>
                  <a:lnTo>
                    <a:pt x="212" y="288"/>
                  </a:lnTo>
                  <a:lnTo>
                    <a:pt x="339" y="162"/>
                  </a:lnTo>
                  <a:lnTo>
                    <a:pt x="339" y="162"/>
                  </a:lnTo>
                  <a:lnTo>
                    <a:pt x="348" y="151"/>
                  </a:lnTo>
                  <a:lnTo>
                    <a:pt x="355" y="136"/>
                  </a:lnTo>
                  <a:lnTo>
                    <a:pt x="359" y="122"/>
                  </a:lnTo>
                  <a:lnTo>
                    <a:pt x="361" y="107"/>
                  </a:lnTo>
                  <a:lnTo>
                    <a:pt x="361" y="33"/>
                  </a:lnTo>
                  <a:lnTo>
                    <a:pt x="361" y="33"/>
                  </a:lnTo>
                  <a:lnTo>
                    <a:pt x="361" y="26"/>
                  </a:lnTo>
                  <a:lnTo>
                    <a:pt x="359" y="20"/>
                  </a:lnTo>
                  <a:lnTo>
                    <a:pt x="355" y="15"/>
                  </a:lnTo>
                  <a:lnTo>
                    <a:pt x="352" y="9"/>
                  </a:lnTo>
                  <a:lnTo>
                    <a:pt x="346" y="6"/>
                  </a:lnTo>
                  <a:lnTo>
                    <a:pt x="341" y="4"/>
                  </a:lnTo>
                  <a:lnTo>
                    <a:pt x="335" y="2"/>
                  </a:lnTo>
                  <a:lnTo>
                    <a:pt x="330" y="0"/>
                  </a:lnTo>
                  <a:lnTo>
                    <a:pt x="330" y="0"/>
                  </a:lnTo>
                  <a:close/>
                  <a:moveTo>
                    <a:pt x="286" y="107"/>
                  </a:moveTo>
                  <a:lnTo>
                    <a:pt x="286" y="107"/>
                  </a:lnTo>
                  <a:lnTo>
                    <a:pt x="279" y="107"/>
                  </a:lnTo>
                  <a:lnTo>
                    <a:pt x="274" y="105"/>
                  </a:lnTo>
                  <a:lnTo>
                    <a:pt x="268" y="102"/>
                  </a:lnTo>
                  <a:lnTo>
                    <a:pt x="263" y="98"/>
                  </a:lnTo>
                  <a:lnTo>
                    <a:pt x="259" y="93"/>
                  </a:lnTo>
                  <a:lnTo>
                    <a:pt x="257" y="87"/>
                  </a:lnTo>
                  <a:lnTo>
                    <a:pt x="256" y="82"/>
                  </a:lnTo>
                  <a:lnTo>
                    <a:pt x="254" y="74"/>
                  </a:lnTo>
                  <a:lnTo>
                    <a:pt x="254" y="74"/>
                  </a:lnTo>
                  <a:lnTo>
                    <a:pt x="256" y="69"/>
                  </a:lnTo>
                  <a:lnTo>
                    <a:pt x="257" y="64"/>
                  </a:lnTo>
                  <a:lnTo>
                    <a:pt x="259" y="58"/>
                  </a:lnTo>
                  <a:lnTo>
                    <a:pt x="263" y="53"/>
                  </a:lnTo>
                  <a:lnTo>
                    <a:pt x="268" y="49"/>
                  </a:lnTo>
                  <a:lnTo>
                    <a:pt x="274" y="45"/>
                  </a:lnTo>
                  <a:lnTo>
                    <a:pt x="279" y="44"/>
                  </a:lnTo>
                  <a:lnTo>
                    <a:pt x="286" y="44"/>
                  </a:lnTo>
                  <a:lnTo>
                    <a:pt x="286" y="44"/>
                  </a:lnTo>
                  <a:lnTo>
                    <a:pt x="292" y="44"/>
                  </a:lnTo>
                  <a:lnTo>
                    <a:pt x="299" y="45"/>
                  </a:lnTo>
                  <a:lnTo>
                    <a:pt x="304" y="49"/>
                  </a:lnTo>
                  <a:lnTo>
                    <a:pt x="308" y="53"/>
                  </a:lnTo>
                  <a:lnTo>
                    <a:pt x="314" y="58"/>
                  </a:lnTo>
                  <a:lnTo>
                    <a:pt x="315" y="64"/>
                  </a:lnTo>
                  <a:lnTo>
                    <a:pt x="317" y="69"/>
                  </a:lnTo>
                  <a:lnTo>
                    <a:pt x="319" y="74"/>
                  </a:lnTo>
                  <a:lnTo>
                    <a:pt x="319" y="74"/>
                  </a:lnTo>
                  <a:lnTo>
                    <a:pt x="317" y="82"/>
                  </a:lnTo>
                  <a:lnTo>
                    <a:pt x="315" y="87"/>
                  </a:lnTo>
                  <a:lnTo>
                    <a:pt x="314" y="93"/>
                  </a:lnTo>
                  <a:lnTo>
                    <a:pt x="308" y="98"/>
                  </a:lnTo>
                  <a:lnTo>
                    <a:pt x="304" y="102"/>
                  </a:lnTo>
                  <a:lnTo>
                    <a:pt x="299" y="105"/>
                  </a:lnTo>
                  <a:lnTo>
                    <a:pt x="292" y="107"/>
                  </a:lnTo>
                  <a:lnTo>
                    <a:pt x="286" y="107"/>
                  </a:lnTo>
                  <a:lnTo>
                    <a:pt x="286" y="107"/>
                  </a:lnTo>
                  <a:close/>
                  <a:moveTo>
                    <a:pt x="27" y="180"/>
                  </a:moveTo>
                  <a:lnTo>
                    <a:pt x="141" y="294"/>
                  </a:lnTo>
                  <a:lnTo>
                    <a:pt x="141" y="294"/>
                  </a:lnTo>
                  <a:lnTo>
                    <a:pt x="130" y="297"/>
                  </a:lnTo>
                  <a:lnTo>
                    <a:pt x="121" y="297"/>
                  </a:lnTo>
                  <a:lnTo>
                    <a:pt x="112" y="294"/>
                  </a:lnTo>
                  <a:lnTo>
                    <a:pt x="103" y="288"/>
                  </a:lnTo>
                  <a:lnTo>
                    <a:pt x="9" y="194"/>
                  </a:lnTo>
                  <a:lnTo>
                    <a:pt x="9" y="194"/>
                  </a:lnTo>
                  <a:lnTo>
                    <a:pt x="5" y="189"/>
                  </a:lnTo>
                  <a:lnTo>
                    <a:pt x="2" y="183"/>
                  </a:lnTo>
                  <a:lnTo>
                    <a:pt x="0" y="178"/>
                  </a:lnTo>
                  <a:lnTo>
                    <a:pt x="0" y="172"/>
                  </a:lnTo>
                  <a:lnTo>
                    <a:pt x="0" y="165"/>
                  </a:lnTo>
                  <a:lnTo>
                    <a:pt x="2" y="160"/>
                  </a:lnTo>
                  <a:lnTo>
                    <a:pt x="5" y="154"/>
                  </a:lnTo>
                  <a:lnTo>
                    <a:pt x="9" y="149"/>
                  </a:lnTo>
                  <a:lnTo>
                    <a:pt x="136" y="24"/>
                  </a:lnTo>
                  <a:lnTo>
                    <a:pt x="136" y="24"/>
                  </a:lnTo>
                  <a:lnTo>
                    <a:pt x="147" y="15"/>
                  </a:lnTo>
                  <a:lnTo>
                    <a:pt x="161" y="7"/>
                  </a:lnTo>
                  <a:lnTo>
                    <a:pt x="176" y="2"/>
                  </a:lnTo>
                  <a:lnTo>
                    <a:pt x="190" y="0"/>
                  </a:lnTo>
                  <a:lnTo>
                    <a:pt x="27" y="163"/>
                  </a:lnTo>
                  <a:lnTo>
                    <a:pt x="27" y="163"/>
                  </a:lnTo>
                  <a:lnTo>
                    <a:pt x="23" y="167"/>
                  </a:lnTo>
                  <a:lnTo>
                    <a:pt x="23" y="172"/>
                  </a:lnTo>
                  <a:lnTo>
                    <a:pt x="23" y="176"/>
                  </a:lnTo>
                  <a:lnTo>
                    <a:pt x="27" y="180"/>
                  </a:lnTo>
                  <a:lnTo>
                    <a:pt x="27" y="180"/>
                  </a:lnTo>
                  <a:close/>
                </a:path>
              </a:pathLst>
            </a:custGeom>
            <a:solidFill>
              <a:srgbClr val="FFFFFF"/>
            </a:solidFill>
            <a:ln w="9525">
              <a:noFill/>
              <a:round/>
            </a:ln>
          </p:spPr>
          <p:txBody>
            <a:bodyPr vert="horz" wrap="square" lIns="89603" tIns="44802" rIns="89603" bIns="44802" numCol="1" anchor="t" anchorCtr="0" compatLnSpc="1"/>
            <a:lstStyle/>
            <a:p>
              <a:endParaRPr lang="en-US" sz="1765" dirty="0"/>
            </a:p>
          </p:txBody>
        </p:sp>
      </p:grpSp>
      <p:grpSp>
        <p:nvGrpSpPr>
          <p:cNvPr id="21" name="组合 20"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3714105" y="2670497"/>
            <a:ext cx="1702865" cy="764234"/>
            <a:chOff x="5027001" y="3719285"/>
            <a:chExt cx="2316969" cy="1039840"/>
          </a:xfrm>
        </p:grpSpPr>
        <p:sp>
          <p:nvSpPr>
            <p:cNvPr id="22" name="Freeform 7"/>
            <p:cNvSpPr/>
            <p:nvPr/>
          </p:nvSpPr>
          <p:spPr bwMode="auto">
            <a:xfrm>
              <a:off x="5027001"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dirty="0"/>
            </a:p>
          </p:txBody>
        </p:sp>
        <p:grpSp>
          <p:nvGrpSpPr>
            <p:cNvPr id="23" name="Group 77"/>
            <p:cNvGrpSpPr/>
            <p:nvPr/>
          </p:nvGrpSpPr>
          <p:grpSpPr>
            <a:xfrm>
              <a:off x="5869058" y="3989143"/>
              <a:ext cx="653147" cy="500124"/>
              <a:chOff x="5552261" y="1554043"/>
              <a:chExt cx="363359" cy="278229"/>
            </a:xfrm>
            <a:solidFill>
              <a:schemeClr val="bg1"/>
            </a:solidFill>
          </p:grpSpPr>
          <p:sp>
            <p:nvSpPr>
              <p:cNvPr id="24" name="Freeform 96"/>
              <p:cNvSpPr/>
              <p:nvPr/>
            </p:nvSpPr>
            <p:spPr bwMode="auto">
              <a:xfrm>
                <a:off x="5552261" y="1715997"/>
                <a:ext cx="363359" cy="116275"/>
              </a:xfrm>
              <a:custGeom>
                <a:avLst/>
                <a:gdLst/>
                <a:ahLst/>
                <a:cxnLst>
                  <a:cxn ang="0">
                    <a:pos x="211" y="31"/>
                  </a:cxn>
                  <a:cxn ang="0">
                    <a:pos x="140" y="31"/>
                  </a:cxn>
                  <a:cxn ang="0">
                    <a:pos x="140" y="0"/>
                  </a:cxn>
                  <a:cxn ang="0">
                    <a:pos x="0" y="0"/>
                  </a:cxn>
                  <a:cxn ang="0">
                    <a:pos x="0" y="96"/>
                  </a:cxn>
                  <a:cxn ang="0">
                    <a:pos x="0" y="96"/>
                  </a:cxn>
                  <a:cxn ang="0">
                    <a:pos x="2" y="102"/>
                  </a:cxn>
                  <a:cxn ang="0">
                    <a:pos x="4" y="107"/>
                  </a:cxn>
                  <a:cxn ang="0">
                    <a:pos x="9" y="111"/>
                  </a:cxn>
                  <a:cxn ang="0">
                    <a:pos x="17" y="112"/>
                  </a:cxn>
                  <a:cxn ang="0">
                    <a:pos x="334" y="112"/>
                  </a:cxn>
                  <a:cxn ang="0">
                    <a:pos x="334" y="112"/>
                  </a:cxn>
                  <a:cxn ang="0">
                    <a:pos x="341" y="111"/>
                  </a:cxn>
                  <a:cxn ang="0">
                    <a:pos x="347" y="107"/>
                  </a:cxn>
                  <a:cxn ang="0">
                    <a:pos x="350" y="102"/>
                  </a:cxn>
                  <a:cxn ang="0">
                    <a:pos x="350" y="96"/>
                  </a:cxn>
                  <a:cxn ang="0">
                    <a:pos x="350" y="0"/>
                  </a:cxn>
                  <a:cxn ang="0">
                    <a:pos x="211" y="0"/>
                  </a:cxn>
                  <a:cxn ang="0">
                    <a:pos x="211" y="31"/>
                  </a:cxn>
                </a:cxnLst>
                <a:rect l="0" t="0" r="r" b="b"/>
                <a:pathLst>
                  <a:path w="350" h="112">
                    <a:moveTo>
                      <a:pt x="211" y="31"/>
                    </a:moveTo>
                    <a:lnTo>
                      <a:pt x="140" y="31"/>
                    </a:lnTo>
                    <a:lnTo>
                      <a:pt x="140" y="0"/>
                    </a:lnTo>
                    <a:lnTo>
                      <a:pt x="0" y="0"/>
                    </a:lnTo>
                    <a:lnTo>
                      <a:pt x="0" y="96"/>
                    </a:lnTo>
                    <a:lnTo>
                      <a:pt x="0" y="96"/>
                    </a:lnTo>
                    <a:lnTo>
                      <a:pt x="2" y="102"/>
                    </a:lnTo>
                    <a:lnTo>
                      <a:pt x="4" y="107"/>
                    </a:lnTo>
                    <a:lnTo>
                      <a:pt x="9" y="111"/>
                    </a:lnTo>
                    <a:lnTo>
                      <a:pt x="17" y="112"/>
                    </a:lnTo>
                    <a:lnTo>
                      <a:pt x="334" y="112"/>
                    </a:lnTo>
                    <a:lnTo>
                      <a:pt x="334" y="112"/>
                    </a:lnTo>
                    <a:lnTo>
                      <a:pt x="341" y="111"/>
                    </a:lnTo>
                    <a:lnTo>
                      <a:pt x="347" y="107"/>
                    </a:lnTo>
                    <a:lnTo>
                      <a:pt x="350" y="102"/>
                    </a:lnTo>
                    <a:lnTo>
                      <a:pt x="350" y="96"/>
                    </a:lnTo>
                    <a:lnTo>
                      <a:pt x="350" y="0"/>
                    </a:lnTo>
                    <a:lnTo>
                      <a:pt x="211" y="0"/>
                    </a:lnTo>
                    <a:lnTo>
                      <a:pt x="211" y="31"/>
                    </a:lnTo>
                    <a:close/>
                  </a:path>
                </a:pathLst>
              </a:custGeom>
              <a:grpFill/>
              <a:ln w="9525">
                <a:noFill/>
                <a:round/>
              </a:ln>
            </p:spPr>
            <p:txBody>
              <a:bodyPr vert="horz" wrap="square" lIns="119474" tIns="59737" rIns="119474" bIns="59737" numCol="1" anchor="t" anchorCtr="0" compatLnSpc="1"/>
              <a:lstStyle/>
              <a:p>
                <a:endParaRPr lang="en-US" sz="1765" dirty="0"/>
              </a:p>
            </p:txBody>
          </p:sp>
          <p:sp>
            <p:nvSpPr>
              <p:cNvPr id="25" name="Freeform 97"/>
              <p:cNvSpPr>
                <a:spLocks noEditPoints="1"/>
              </p:cNvSpPr>
              <p:nvPr/>
            </p:nvSpPr>
            <p:spPr bwMode="auto">
              <a:xfrm>
                <a:off x="5552261" y="1554043"/>
                <a:ext cx="363359" cy="137038"/>
              </a:xfrm>
              <a:custGeom>
                <a:avLst/>
                <a:gdLst/>
                <a:ahLst/>
                <a:cxnLst>
                  <a:cxn ang="0">
                    <a:pos x="334" y="42"/>
                  </a:cxn>
                  <a:cxn ang="0">
                    <a:pos x="225" y="42"/>
                  </a:cxn>
                  <a:cxn ang="0">
                    <a:pos x="225" y="42"/>
                  </a:cxn>
                  <a:cxn ang="0">
                    <a:pos x="225" y="5"/>
                  </a:cxn>
                  <a:cxn ang="0">
                    <a:pos x="225" y="5"/>
                  </a:cxn>
                  <a:cxn ang="0">
                    <a:pos x="225" y="2"/>
                  </a:cxn>
                  <a:cxn ang="0">
                    <a:pos x="223" y="0"/>
                  </a:cxn>
                  <a:cxn ang="0">
                    <a:pos x="222" y="0"/>
                  </a:cxn>
                  <a:cxn ang="0">
                    <a:pos x="120" y="0"/>
                  </a:cxn>
                  <a:cxn ang="0">
                    <a:pos x="120" y="0"/>
                  </a:cxn>
                  <a:cxn ang="0">
                    <a:pos x="118" y="2"/>
                  </a:cxn>
                  <a:cxn ang="0">
                    <a:pos x="116" y="4"/>
                  </a:cxn>
                  <a:cxn ang="0">
                    <a:pos x="115" y="5"/>
                  </a:cxn>
                  <a:cxn ang="0">
                    <a:pos x="115" y="5"/>
                  </a:cxn>
                  <a:cxn ang="0">
                    <a:pos x="115" y="42"/>
                  </a:cxn>
                  <a:cxn ang="0">
                    <a:pos x="17" y="42"/>
                  </a:cxn>
                  <a:cxn ang="0">
                    <a:pos x="17" y="42"/>
                  </a:cxn>
                  <a:cxn ang="0">
                    <a:pos x="9" y="42"/>
                  </a:cxn>
                  <a:cxn ang="0">
                    <a:pos x="4" y="45"/>
                  </a:cxn>
                  <a:cxn ang="0">
                    <a:pos x="2" y="51"/>
                  </a:cxn>
                  <a:cxn ang="0">
                    <a:pos x="0" y="58"/>
                  </a:cxn>
                  <a:cxn ang="0">
                    <a:pos x="0" y="130"/>
                  </a:cxn>
                  <a:cxn ang="0">
                    <a:pos x="350" y="130"/>
                  </a:cxn>
                  <a:cxn ang="0">
                    <a:pos x="350" y="58"/>
                  </a:cxn>
                  <a:cxn ang="0">
                    <a:pos x="350" y="58"/>
                  </a:cxn>
                  <a:cxn ang="0">
                    <a:pos x="350" y="51"/>
                  </a:cxn>
                  <a:cxn ang="0">
                    <a:pos x="347" y="45"/>
                  </a:cxn>
                  <a:cxn ang="0">
                    <a:pos x="341" y="42"/>
                  </a:cxn>
                  <a:cxn ang="0">
                    <a:pos x="334" y="42"/>
                  </a:cxn>
                  <a:cxn ang="0">
                    <a:pos x="334" y="42"/>
                  </a:cxn>
                  <a:cxn ang="0">
                    <a:pos x="133" y="42"/>
                  </a:cxn>
                  <a:cxn ang="0">
                    <a:pos x="133" y="13"/>
                  </a:cxn>
                  <a:cxn ang="0">
                    <a:pos x="209" y="13"/>
                  </a:cxn>
                  <a:cxn ang="0">
                    <a:pos x="209" y="42"/>
                  </a:cxn>
                  <a:cxn ang="0">
                    <a:pos x="133" y="42"/>
                  </a:cxn>
                </a:cxnLst>
                <a:rect l="0" t="0" r="r" b="b"/>
                <a:pathLst>
                  <a:path w="350" h="130">
                    <a:moveTo>
                      <a:pt x="334" y="42"/>
                    </a:moveTo>
                    <a:lnTo>
                      <a:pt x="225" y="42"/>
                    </a:lnTo>
                    <a:lnTo>
                      <a:pt x="225" y="42"/>
                    </a:lnTo>
                    <a:lnTo>
                      <a:pt x="225" y="5"/>
                    </a:lnTo>
                    <a:lnTo>
                      <a:pt x="225" y="5"/>
                    </a:lnTo>
                    <a:lnTo>
                      <a:pt x="225" y="2"/>
                    </a:lnTo>
                    <a:lnTo>
                      <a:pt x="223" y="0"/>
                    </a:lnTo>
                    <a:lnTo>
                      <a:pt x="222" y="0"/>
                    </a:lnTo>
                    <a:lnTo>
                      <a:pt x="120" y="0"/>
                    </a:lnTo>
                    <a:lnTo>
                      <a:pt x="120" y="0"/>
                    </a:lnTo>
                    <a:lnTo>
                      <a:pt x="118" y="2"/>
                    </a:lnTo>
                    <a:lnTo>
                      <a:pt x="116" y="4"/>
                    </a:lnTo>
                    <a:lnTo>
                      <a:pt x="115" y="5"/>
                    </a:lnTo>
                    <a:lnTo>
                      <a:pt x="115" y="5"/>
                    </a:lnTo>
                    <a:lnTo>
                      <a:pt x="115" y="42"/>
                    </a:lnTo>
                    <a:lnTo>
                      <a:pt x="17" y="42"/>
                    </a:lnTo>
                    <a:lnTo>
                      <a:pt x="17" y="42"/>
                    </a:lnTo>
                    <a:lnTo>
                      <a:pt x="9" y="42"/>
                    </a:lnTo>
                    <a:lnTo>
                      <a:pt x="4" y="45"/>
                    </a:lnTo>
                    <a:lnTo>
                      <a:pt x="2" y="51"/>
                    </a:lnTo>
                    <a:lnTo>
                      <a:pt x="0" y="58"/>
                    </a:lnTo>
                    <a:lnTo>
                      <a:pt x="0" y="130"/>
                    </a:lnTo>
                    <a:lnTo>
                      <a:pt x="350" y="130"/>
                    </a:lnTo>
                    <a:lnTo>
                      <a:pt x="350" y="58"/>
                    </a:lnTo>
                    <a:lnTo>
                      <a:pt x="350" y="58"/>
                    </a:lnTo>
                    <a:lnTo>
                      <a:pt x="350" y="51"/>
                    </a:lnTo>
                    <a:lnTo>
                      <a:pt x="347" y="45"/>
                    </a:lnTo>
                    <a:lnTo>
                      <a:pt x="341" y="42"/>
                    </a:lnTo>
                    <a:lnTo>
                      <a:pt x="334" y="42"/>
                    </a:lnTo>
                    <a:lnTo>
                      <a:pt x="334" y="42"/>
                    </a:lnTo>
                    <a:close/>
                    <a:moveTo>
                      <a:pt x="133" y="42"/>
                    </a:moveTo>
                    <a:lnTo>
                      <a:pt x="133" y="13"/>
                    </a:lnTo>
                    <a:lnTo>
                      <a:pt x="209" y="13"/>
                    </a:lnTo>
                    <a:lnTo>
                      <a:pt x="209" y="42"/>
                    </a:lnTo>
                    <a:lnTo>
                      <a:pt x="133" y="42"/>
                    </a:lnTo>
                    <a:close/>
                  </a:path>
                </a:pathLst>
              </a:custGeom>
              <a:grpFill/>
              <a:ln w="9525">
                <a:noFill/>
                <a:round/>
              </a:ln>
            </p:spPr>
            <p:txBody>
              <a:bodyPr vert="horz" wrap="square" lIns="119474" tIns="59737" rIns="119474" bIns="59737" numCol="1" anchor="t" anchorCtr="0" compatLnSpc="1"/>
              <a:lstStyle/>
              <a:p>
                <a:endParaRPr lang="en-US" sz="1765" dirty="0"/>
              </a:p>
            </p:txBody>
          </p:sp>
          <p:sp>
            <p:nvSpPr>
              <p:cNvPr id="26" name="Rectangle 98"/>
              <p:cNvSpPr>
                <a:spLocks noChangeArrowheads="1"/>
              </p:cNvSpPr>
              <p:nvPr/>
            </p:nvSpPr>
            <p:spPr bwMode="auto">
              <a:xfrm>
                <a:off x="5710062" y="1715997"/>
                <a:ext cx="45679" cy="18688"/>
              </a:xfrm>
              <a:prstGeom prst="rect">
                <a:avLst/>
              </a:prstGeom>
              <a:grpFill/>
              <a:ln w="9525">
                <a:noFill/>
                <a:miter lim="800000"/>
              </a:ln>
            </p:spPr>
            <p:txBody>
              <a:bodyPr vert="horz" wrap="square" lIns="119474" tIns="59737" rIns="119474" bIns="59737" numCol="1" anchor="t" anchorCtr="0" compatLnSpc="1"/>
              <a:lstStyle/>
              <a:p>
                <a:endParaRPr lang="en-US" sz="1765" dirty="0"/>
              </a:p>
            </p:txBody>
          </p:sp>
        </p:grpSp>
      </p:grpSp>
      <p:grpSp>
        <p:nvGrpSpPr>
          <p:cNvPr id="27" name="组合 26"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5416970" y="2670497"/>
            <a:ext cx="1702865" cy="764234"/>
            <a:chOff x="7343970" y="3719285"/>
            <a:chExt cx="2316969" cy="1039840"/>
          </a:xfrm>
        </p:grpSpPr>
        <p:sp>
          <p:nvSpPr>
            <p:cNvPr id="28" name="Freeform 8"/>
            <p:cNvSpPr/>
            <p:nvPr/>
          </p:nvSpPr>
          <p:spPr bwMode="auto">
            <a:xfrm>
              <a:off x="7343970"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dirty="0"/>
            </a:p>
          </p:txBody>
        </p:sp>
        <p:sp>
          <p:nvSpPr>
            <p:cNvPr id="29" name="Freeform 104"/>
            <p:cNvSpPr>
              <a:spLocks noEditPoints="1"/>
            </p:cNvSpPr>
            <p:nvPr/>
          </p:nvSpPr>
          <p:spPr bwMode="auto">
            <a:xfrm>
              <a:off x="8213200" y="3925693"/>
              <a:ext cx="578504" cy="563577"/>
            </a:xfrm>
            <a:custGeom>
              <a:avLst/>
              <a:gdLst/>
              <a:ahLst/>
              <a:cxnLst>
                <a:cxn ang="0">
                  <a:pos x="243" y="45"/>
                </a:cxn>
                <a:cxn ang="0">
                  <a:pos x="243" y="20"/>
                </a:cxn>
                <a:cxn ang="0">
                  <a:pos x="238" y="6"/>
                </a:cxn>
                <a:cxn ang="0">
                  <a:pos x="221" y="0"/>
                </a:cxn>
                <a:cxn ang="0">
                  <a:pos x="214" y="2"/>
                </a:cxn>
                <a:cxn ang="0">
                  <a:pos x="203" y="13"/>
                </a:cxn>
                <a:cxn ang="0">
                  <a:pos x="202" y="45"/>
                </a:cxn>
                <a:cxn ang="0">
                  <a:pos x="109" y="20"/>
                </a:cxn>
                <a:cxn ang="0">
                  <a:pos x="107" y="13"/>
                </a:cxn>
                <a:cxn ang="0">
                  <a:pos x="96" y="2"/>
                </a:cxn>
                <a:cxn ang="0">
                  <a:pos x="87" y="0"/>
                </a:cxn>
                <a:cxn ang="0">
                  <a:pos x="73" y="6"/>
                </a:cxn>
                <a:cxn ang="0">
                  <a:pos x="67" y="20"/>
                </a:cxn>
                <a:cxn ang="0">
                  <a:pos x="17" y="45"/>
                </a:cxn>
                <a:cxn ang="0">
                  <a:pos x="9" y="47"/>
                </a:cxn>
                <a:cxn ang="0">
                  <a:pos x="2" y="54"/>
                </a:cxn>
                <a:cxn ang="0">
                  <a:pos x="0" y="287"/>
                </a:cxn>
                <a:cxn ang="0">
                  <a:pos x="2" y="292"/>
                </a:cxn>
                <a:cxn ang="0">
                  <a:pos x="9" y="301"/>
                </a:cxn>
                <a:cxn ang="0">
                  <a:pos x="294" y="301"/>
                </a:cxn>
                <a:cxn ang="0">
                  <a:pos x="301" y="301"/>
                </a:cxn>
                <a:cxn ang="0">
                  <a:pos x="308" y="292"/>
                </a:cxn>
                <a:cxn ang="0">
                  <a:pos x="310" y="62"/>
                </a:cxn>
                <a:cxn ang="0">
                  <a:pos x="308" y="54"/>
                </a:cxn>
                <a:cxn ang="0">
                  <a:pos x="301" y="47"/>
                </a:cxn>
                <a:cxn ang="0">
                  <a:pos x="294" y="45"/>
                </a:cxn>
                <a:cxn ang="0">
                  <a:pos x="145" y="156"/>
                </a:cxn>
                <a:cxn ang="0">
                  <a:pos x="96" y="114"/>
                </a:cxn>
                <a:cxn ang="0">
                  <a:pos x="165" y="114"/>
                </a:cxn>
                <a:cxn ang="0">
                  <a:pos x="214" y="156"/>
                </a:cxn>
                <a:cxn ang="0">
                  <a:pos x="165" y="114"/>
                </a:cxn>
                <a:cxn ang="0">
                  <a:pos x="75" y="156"/>
                </a:cxn>
                <a:cxn ang="0">
                  <a:pos x="31" y="114"/>
                </a:cxn>
                <a:cxn ang="0">
                  <a:pos x="75" y="178"/>
                </a:cxn>
                <a:cxn ang="0">
                  <a:pos x="31" y="209"/>
                </a:cxn>
                <a:cxn ang="0">
                  <a:pos x="75" y="178"/>
                </a:cxn>
                <a:cxn ang="0">
                  <a:pos x="145" y="178"/>
                </a:cxn>
                <a:cxn ang="0">
                  <a:pos x="96" y="209"/>
                </a:cxn>
                <a:cxn ang="0">
                  <a:pos x="145" y="229"/>
                </a:cxn>
                <a:cxn ang="0">
                  <a:pos x="96" y="270"/>
                </a:cxn>
                <a:cxn ang="0">
                  <a:pos x="145" y="229"/>
                </a:cxn>
                <a:cxn ang="0">
                  <a:pos x="214" y="229"/>
                </a:cxn>
                <a:cxn ang="0">
                  <a:pos x="165" y="270"/>
                </a:cxn>
                <a:cxn ang="0">
                  <a:pos x="165" y="209"/>
                </a:cxn>
                <a:cxn ang="0">
                  <a:pos x="214" y="178"/>
                </a:cxn>
                <a:cxn ang="0">
                  <a:pos x="165" y="209"/>
                </a:cxn>
                <a:cxn ang="0">
                  <a:pos x="279" y="178"/>
                </a:cxn>
                <a:cxn ang="0">
                  <a:pos x="236" y="209"/>
                </a:cxn>
                <a:cxn ang="0">
                  <a:pos x="236" y="156"/>
                </a:cxn>
                <a:cxn ang="0">
                  <a:pos x="279" y="114"/>
                </a:cxn>
                <a:cxn ang="0">
                  <a:pos x="236" y="156"/>
                </a:cxn>
                <a:cxn ang="0">
                  <a:pos x="75" y="229"/>
                </a:cxn>
                <a:cxn ang="0">
                  <a:pos x="31" y="270"/>
                </a:cxn>
                <a:cxn ang="0">
                  <a:pos x="236" y="270"/>
                </a:cxn>
                <a:cxn ang="0">
                  <a:pos x="279" y="229"/>
                </a:cxn>
                <a:cxn ang="0">
                  <a:pos x="236" y="270"/>
                </a:cxn>
              </a:cxnLst>
              <a:rect l="0" t="0" r="r" b="b"/>
              <a:pathLst>
                <a:path w="310" h="301">
                  <a:moveTo>
                    <a:pt x="294" y="45"/>
                  </a:moveTo>
                  <a:lnTo>
                    <a:pt x="243" y="45"/>
                  </a:lnTo>
                  <a:lnTo>
                    <a:pt x="243" y="20"/>
                  </a:lnTo>
                  <a:lnTo>
                    <a:pt x="243" y="20"/>
                  </a:lnTo>
                  <a:lnTo>
                    <a:pt x="241" y="13"/>
                  </a:lnTo>
                  <a:lnTo>
                    <a:pt x="238" y="6"/>
                  </a:lnTo>
                  <a:lnTo>
                    <a:pt x="231" y="2"/>
                  </a:lnTo>
                  <a:lnTo>
                    <a:pt x="221" y="0"/>
                  </a:lnTo>
                  <a:lnTo>
                    <a:pt x="221" y="0"/>
                  </a:lnTo>
                  <a:lnTo>
                    <a:pt x="214" y="2"/>
                  </a:lnTo>
                  <a:lnTo>
                    <a:pt x="207" y="6"/>
                  </a:lnTo>
                  <a:lnTo>
                    <a:pt x="203" y="13"/>
                  </a:lnTo>
                  <a:lnTo>
                    <a:pt x="202" y="20"/>
                  </a:lnTo>
                  <a:lnTo>
                    <a:pt x="202" y="45"/>
                  </a:lnTo>
                  <a:lnTo>
                    <a:pt x="109" y="45"/>
                  </a:lnTo>
                  <a:lnTo>
                    <a:pt x="109" y="20"/>
                  </a:lnTo>
                  <a:lnTo>
                    <a:pt x="109" y="20"/>
                  </a:lnTo>
                  <a:lnTo>
                    <a:pt x="107" y="13"/>
                  </a:lnTo>
                  <a:lnTo>
                    <a:pt x="102" y="6"/>
                  </a:lnTo>
                  <a:lnTo>
                    <a:pt x="96" y="2"/>
                  </a:lnTo>
                  <a:lnTo>
                    <a:pt x="87" y="0"/>
                  </a:lnTo>
                  <a:lnTo>
                    <a:pt x="87" y="0"/>
                  </a:lnTo>
                  <a:lnTo>
                    <a:pt x="80" y="2"/>
                  </a:lnTo>
                  <a:lnTo>
                    <a:pt x="73" y="6"/>
                  </a:lnTo>
                  <a:lnTo>
                    <a:pt x="69" y="13"/>
                  </a:lnTo>
                  <a:lnTo>
                    <a:pt x="67" y="20"/>
                  </a:lnTo>
                  <a:lnTo>
                    <a:pt x="67" y="45"/>
                  </a:lnTo>
                  <a:lnTo>
                    <a:pt x="17" y="45"/>
                  </a:lnTo>
                  <a:lnTo>
                    <a:pt x="17" y="45"/>
                  </a:lnTo>
                  <a:lnTo>
                    <a:pt x="9" y="47"/>
                  </a:lnTo>
                  <a:lnTo>
                    <a:pt x="4" y="51"/>
                  </a:lnTo>
                  <a:lnTo>
                    <a:pt x="2" y="54"/>
                  </a:lnTo>
                  <a:lnTo>
                    <a:pt x="0" y="62"/>
                  </a:lnTo>
                  <a:lnTo>
                    <a:pt x="0" y="287"/>
                  </a:lnTo>
                  <a:lnTo>
                    <a:pt x="0" y="287"/>
                  </a:lnTo>
                  <a:lnTo>
                    <a:pt x="2" y="292"/>
                  </a:lnTo>
                  <a:lnTo>
                    <a:pt x="4" y="297"/>
                  </a:lnTo>
                  <a:lnTo>
                    <a:pt x="9" y="301"/>
                  </a:lnTo>
                  <a:lnTo>
                    <a:pt x="17" y="301"/>
                  </a:lnTo>
                  <a:lnTo>
                    <a:pt x="294" y="301"/>
                  </a:lnTo>
                  <a:lnTo>
                    <a:pt x="294" y="301"/>
                  </a:lnTo>
                  <a:lnTo>
                    <a:pt x="301" y="301"/>
                  </a:lnTo>
                  <a:lnTo>
                    <a:pt x="305" y="297"/>
                  </a:lnTo>
                  <a:lnTo>
                    <a:pt x="308" y="292"/>
                  </a:lnTo>
                  <a:lnTo>
                    <a:pt x="310" y="287"/>
                  </a:lnTo>
                  <a:lnTo>
                    <a:pt x="310" y="62"/>
                  </a:lnTo>
                  <a:lnTo>
                    <a:pt x="310" y="62"/>
                  </a:lnTo>
                  <a:lnTo>
                    <a:pt x="308" y="54"/>
                  </a:lnTo>
                  <a:lnTo>
                    <a:pt x="305" y="51"/>
                  </a:lnTo>
                  <a:lnTo>
                    <a:pt x="301" y="47"/>
                  </a:lnTo>
                  <a:lnTo>
                    <a:pt x="294" y="45"/>
                  </a:lnTo>
                  <a:lnTo>
                    <a:pt x="294" y="45"/>
                  </a:lnTo>
                  <a:close/>
                  <a:moveTo>
                    <a:pt x="145" y="114"/>
                  </a:moveTo>
                  <a:lnTo>
                    <a:pt x="145" y="156"/>
                  </a:lnTo>
                  <a:lnTo>
                    <a:pt x="96" y="156"/>
                  </a:lnTo>
                  <a:lnTo>
                    <a:pt x="96" y="114"/>
                  </a:lnTo>
                  <a:lnTo>
                    <a:pt x="145" y="114"/>
                  </a:lnTo>
                  <a:close/>
                  <a:moveTo>
                    <a:pt x="165" y="114"/>
                  </a:moveTo>
                  <a:lnTo>
                    <a:pt x="214" y="114"/>
                  </a:lnTo>
                  <a:lnTo>
                    <a:pt x="214" y="156"/>
                  </a:lnTo>
                  <a:lnTo>
                    <a:pt x="165" y="156"/>
                  </a:lnTo>
                  <a:lnTo>
                    <a:pt x="165" y="114"/>
                  </a:lnTo>
                  <a:close/>
                  <a:moveTo>
                    <a:pt x="75" y="114"/>
                  </a:moveTo>
                  <a:lnTo>
                    <a:pt x="75" y="156"/>
                  </a:lnTo>
                  <a:lnTo>
                    <a:pt x="31" y="156"/>
                  </a:lnTo>
                  <a:lnTo>
                    <a:pt x="31" y="114"/>
                  </a:lnTo>
                  <a:lnTo>
                    <a:pt x="75" y="114"/>
                  </a:lnTo>
                  <a:close/>
                  <a:moveTo>
                    <a:pt x="75" y="178"/>
                  </a:moveTo>
                  <a:lnTo>
                    <a:pt x="75" y="209"/>
                  </a:lnTo>
                  <a:lnTo>
                    <a:pt x="31" y="209"/>
                  </a:lnTo>
                  <a:lnTo>
                    <a:pt x="31" y="178"/>
                  </a:lnTo>
                  <a:lnTo>
                    <a:pt x="75" y="178"/>
                  </a:lnTo>
                  <a:close/>
                  <a:moveTo>
                    <a:pt x="96" y="178"/>
                  </a:moveTo>
                  <a:lnTo>
                    <a:pt x="145" y="178"/>
                  </a:lnTo>
                  <a:lnTo>
                    <a:pt x="145" y="209"/>
                  </a:lnTo>
                  <a:lnTo>
                    <a:pt x="96" y="209"/>
                  </a:lnTo>
                  <a:lnTo>
                    <a:pt x="96" y="178"/>
                  </a:lnTo>
                  <a:close/>
                  <a:moveTo>
                    <a:pt x="145" y="229"/>
                  </a:moveTo>
                  <a:lnTo>
                    <a:pt x="145" y="270"/>
                  </a:lnTo>
                  <a:lnTo>
                    <a:pt x="96" y="270"/>
                  </a:lnTo>
                  <a:lnTo>
                    <a:pt x="96" y="229"/>
                  </a:lnTo>
                  <a:lnTo>
                    <a:pt x="145" y="229"/>
                  </a:lnTo>
                  <a:close/>
                  <a:moveTo>
                    <a:pt x="165" y="229"/>
                  </a:moveTo>
                  <a:lnTo>
                    <a:pt x="214" y="229"/>
                  </a:lnTo>
                  <a:lnTo>
                    <a:pt x="214" y="270"/>
                  </a:lnTo>
                  <a:lnTo>
                    <a:pt x="165" y="270"/>
                  </a:lnTo>
                  <a:lnTo>
                    <a:pt x="165" y="229"/>
                  </a:lnTo>
                  <a:close/>
                  <a:moveTo>
                    <a:pt x="165" y="209"/>
                  </a:moveTo>
                  <a:lnTo>
                    <a:pt x="165" y="178"/>
                  </a:lnTo>
                  <a:lnTo>
                    <a:pt x="214" y="178"/>
                  </a:lnTo>
                  <a:lnTo>
                    <a:pt x="214" y="209"/>
                  </a:lnTo>
                  <a:lnTo>
                    <a:pt x="165" y="209"/>
                  </a:lnTo>
                  <a:close/>
                  <a:moveTo>
                    <a:pt x="236" y="178"/>
                  </a:moveTo>
                  <a:lnTo>
                    <a:pt x="279" y="178"/>
                  </a:lnTo>
                  <a:lnTo>
                    <a:pt x="279" y="209"/>
                  </a:lnTo>
                  <a:lnTo>
                    <a:pt x="236" y="209"/>
                  </a:lnTo>
                  <a:lnTo>
                    <a:pt x="236" y="178"/>
                  </a:lnTo>
                  <a:close/>
                  <a:moveTo>
                    <a:pt x="236" y="156"/>
                  </a:moveTo>
                  <a:lnTo>
                    <a:pt x="236" y="114"/>
                  </a:lnTo>
                  <a:lnTo>
                    <a:pt x="279" y="114"/>
                  </a:lnTo>
                  <a:lnTo>
                    <a:pt x="279" y="156"/>
                  </a:lnTo>
                  <a:lnTo>
                    <a:pt x="236" y="156"/>
                  </a:lnTo>
                  <a:close/>
                  <a:moveTo>
                    <a:pt x="31" y="229"/>
                  </a:moveTo>
                  <a:lnTo>
                    <a:pt x="75" y="229"/>
                  </a:lnTo>
                  <a:lnTo>
                    <a:pt x="75" y="270"/>
                  </a:lnTo>
                  <a:lnTo>
                    <a:pt x="31" y="270"/>
                  </a:lnTo>
                  <a:lnTo>
                    <a:pt x="31" y="229"/>
                  </a:lnTo>
                  <a:close/>
                  <a:moveTo>
                    <a:pt x="236" y="270"/>
                  </a:moveTo>
                  <a:lnTo>
                    <a:pt x="236" y="229"/>
                  </a:lnTo>
                  <a:lnTo>
                    <a:pt x="279" y="229"/>
                  </a:lnTo>
                  <a:lnTo>
                    <a:pt x="279" y="270"/>
                  </a:lnTo>
                  <a:lnTo>
                    <a:pt x="236" y="270"/>
                  </a:lnTo>
                  <a:close/>
                </a:path>
              </a:pathLst>
            </a:custGeom>
            <a:solidFill>
              <a:srgbClr val="FFFFFF"/>
            </a:solidFill>
            <a:ln w="9525">
              <a:noFill/>
              <a:round/>
            </a:ln>
          </p:spPr>
          <p:txBody>
            <a:bodyPr vert="horz" wrap="square" lIns="89603" tIns="44802" rIns="89603" bIns="44802" numCol="1" anchor="t" anchorCtr="0" compatLnSpc="1"/>
            <a:lstStyle/>
            <a:p>
              <a:endParaRPr lang="en-US" sz="1765" dirty="0"/>
            </a:p>
          </p:txBody>
        </p:sp>
      </p:grpSp>
      <p:grpSp>
        <p:nvGrpSpPr>
          <p:cNvPr id="30" name="组合 29"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306831" y="2670497"/>
            <a:ext cx="1702865" cy="764234"/>
            <a:chOff x="390963" y="3719285"/>
            <a:chExt cx="2316969" cy="1039840"/>
          </a:xfrm>
        </p:grpSpPr>
        <p:sp>
          <p:nvSpPr>
            <p:cNvPr id="31" name="Freeform 5"/>
            <p:cNvSpPr/>
            <p:nvPr/>
          </p:nvSpPr>
          <p:spPr bwMode="auto">
            <a:xfrm>
              <a:off x="390963"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pPr algn="ctr"/>
              <a:endParaRPr lang="en-US" sz="1765" dirty="0"/>
            </a:p>
          </p:txBody>
        </p:sp>
        <p:grpSp>
          <p:nvGrpSpPr>
            <p:cNvPr id="32" name="Group 40"/>
            <p:cNvGrpSpPr/>
            <p:nvPr/>
          </p:nvGrpSpPr>
          <p:grpSpPr>
            <a:xfrm>
              <a:off x="1212724" y="3976077"/>
              <a:ext cx="684405" cy="539203"/>
              <a:chOff x="1058564" y="1781841"/>
              <a:chExt cx="649993" cy="512092"/>
            </a:xfrm>
            <a:solidFill>
              <a:schemeClr val="bg1"/>
            </a:solidFill>
          </p:grpSpPr>
          <p:sp>
            <p:nvSpPr>
              <p:cNvPr id="33" name="Freeform 31"/>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19474" tIns="59737" rIns="119474" bIns="59737" numCol="1" anchor="t" anchorCtr="0" compatLnSpc="1"/>
              <a:lstStyle/>
              <a:p>
                <a:endParaRPr lang="en-US" sz="1765" dirty="0"/>
              </a:p>
            </p:txBody>
          </p:sp>
          <p:sp>
            <p:nvSpPr>
              <p:cNvPr id="34" name="Freeform 32"/>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19474" tIns="59737" rIns="119474" bIns="59737" numCol="1" anchor="t" anchorCtr="0" compatLnSpc="1"/>
              <a:lstStyle/>
              <a:p>
                <a:endParaRPr lang="en-US" sz="1765" dirty="0"/>
              </a:p>
            </p:txBody>
          </p:sp>
        </p:grpSp>
      </p:grpSp>
      <p:grpSp>
        <p:nvGrpSpPr>
          <p:cNvPr id="35" name="组合 34"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7119834" y="2670497"/>
            <a:ext cx="1702865" cy="764234"/>
            <a:chOff x="9660939" y="3719285"/>
            <a:chExt cx="2316969" cy="1039840"/>
          </a:xfrm>
        </p:grpSpPr>
        <p:sp>
          <p:nvSpPr>
            <p:cNvPr id="36" name="Freeform 9"/>
            <p:cNvSpPr/>
            <p:nvPr/>
          </p:nvSpPr>
          <p:spPr bwMode="auto">
            <a:xfrm>
              <a:off x="9660939"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5"/>
            </a:p>
          </p:txBody>
        </p:sp>
        <p:sp>
          <p:nvSpPr>
            <p:cNvPr id="37" name="Freeform 147"/>
            <p:cNvSpPr>
              <a:spLocks noEditPoints="1"/>
            </p:cNvSpPr>
            <p:nvPr/>
          </p:nvSpPr>
          <p:spPr bwMode="auto">
            <a:xfrm>
              <a:off x="10632760" y="3883803"/>
              <a:ext cx="373320" cy="589591"/>
            </a:xfrm>
            <a:custGeom>
              <a:avLst/>
              <a:gdLst>
                <a:gd name="T0" fmla="*/ 57 w 67"/>
                <a:gd name="T1" fmla="*/ 10 h 106"/>
                <a:gd name="T2" fmla="*/ 62 w 67"/>
                <a:gd name="T3" fmla="*/ 51 h 106"/>
                <a:gd name="T4" fmla="*/ 51 w 67"/>
                <a:gd name="T5" fmla="*/ 66 h 106"/>
                <a:gd name="T6" fmla="*/ 55 w 67"/>
                <a:gd name="T7" fmla="*/ 65 h 106"/>
                <a:gd name="T8" fmla="*/ 57 w 67"/>
                <a:gd name="T9" fmla="*/ 73 h 106"/>
                <a:gd name="T10" fmla="*/ 56 w 67"/>
                <a:gd name="T11" fmla="*/ 80 h 106"/>
                <a:gd name="T12" fmla="*/ 57 w 67"/>
                <a:gd name="T13" fmla="*/ 86 h 106"/>
                <a:gd name="T14" fmla="*/ 55 w 67"/>
                <a:gd name="T15" fmla="*/ 93 h 106"/>
                <a:gd name="T16" fmla="*/ 15 w 67"/>
                <a:gd name="T17" fmla="*/ 97 h 106"/>
                <a:gd name="T18" fmla="*/ 12 w 67"/>
                <a:gd name="T19" fmla="*/ 95 h 106"/>
                <a:gd name="T20" fmla="*/ 12 w 67"/>
                <a:gd name="T21" fmla="*/ 83 h 106"/>
                <a:gd name="T22" fmla="*/ 12 w 67"/>
                <a:gd name="T23" fmla="*/ 82 h 106"/>
                <a:gd name="T24" fmla="*/ 12 w 67"/>
                <a:gd name="T25" fmla="*/ 71 h 106"/>
                <a:gd name="T26" fmla="*/ 15 w 67"/>
                <a:gd name="T27" fmla="*/ 69 h 106"/>
                <a:gd name="T28" fmla="*/ 16 w 67"/>
                <a:gd name="T29" fmla="*/ 63 h 106"/>
                <a:gd name="T30" fmla="*/ 0 w 67"/>
                <a:gd name="T31" fmla="*/ 34 h 106"/>
                <a:gd name="T32" fmla="*/ 33 w 67"/>
                <a:gd name="T33" fmla="*/ 0 h 106"/>
                <a:gd name="T34" fmla="*/ 28 w 67"/>
                <a:gd name="T35" fmla="*/ 41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2 h 106"/>
                <a:gd name="T48" fmla="*/ 44 w 67"/>
                <a:gd name="T49" fmla="*/ 66 h 106"/>
                <a:gd name="T50" fmla="*/ 44 w 67"/>
                <a:gd name="T51" fmla="*/ 58 h 106"/>
                <a:gd name="T52" fmla="*/ 56 w 67"/>
                <a:gd name="T53" fmla="*/ 47 h 106"/>
                <a:gd name="T54" fmla="*/ 52 w 67"/>
                <a:gd name="T55" fmla="*/ 15 h 106"/>
                <a:gd name="T56" fmla="*/ 15 w 67"/>
                <a:gd name="T57" fmla="*/ 15 h 106"/>
                <a:gd name="T58" fmla="*/ 11 w 67"/>
                <a:gd name="T59" fmla="*/ 48 h 106"/>
                <a:gd name="T60" fmla="*/ 23 w 67"/>
                <a:gd name="T61" fmla="*/ 59 h 106"/>
                <a:gd name="T62" fmla="*/ 23 w 67"/>
                <a:gd name="T63" fmla="*/ 67 h 106"/>
                <a:gd name="T64" fmla="*/ 29 w 67"/>
                <a:gd name="T65" fmla="*/ 52 h 106"/>
                <a:gd name="T66" fmla="*/ 25 w 67"/>
                <a:gd name="T67" fmla="*/ 38 h 106"/>
                <a:gd name="T68" fmla="*/ 40 w 67"/>
                <a:gd name="T69" fmla="*/ 43 h 106"/>
                <a:gd name="T70" fmla="*/ 36 w 67"/>
                <a:gd name="T71" fmla="*/ 42 h 106"/>
                <a:gd name="T72" fmla="*/ 30 w 67"/>
                <a:gd name="T73" fmla="*/ 42 h 106"/>
                <a:gd name="T74" fmla="*/ 27 w 67"/>
                <a:gd name="T75" fmla="*/ 42 h 106"/>
                <a:gd name="T76" fmla="*/ 32 w 67"/>
                <a:gd name="T77" fmla="*/ 51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90 h 106"/>
                <a:gd name="T94" fmla="*/ 50 w 67"/>
                <a:gd name="T95" fmla="*/ 86 h 106"/>
                <a:gd name="T96" fmla="*/ 50 w 67"/>
                <a:gd name="T97" fmla="*/ 73 h 106"/>
                <a:gd name="T98" fmla="*/ 17 w 67"/>
                <a:gd name="T99" fmla="*/ 77 h 106"/>
                <a:gd name="T100" fmla="*/ 50 w 67"/>
                <a:gd name="T101" fmla="*/ 74 h 106"/>
                <a:gd name="T102" fmla="*/ 50 w 67"/>
                <a:gd name="T103" fmla="*/ 7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6">
                  <a:moveTo>
                    <a:pt x="33" y="0"/>
                  </a:moveTo>
                  <a:cubicBezTo>
                    <a:pt x="43" y="0"/>
                    <a:pt x="51" y="4"/>
                    <a:pt x="57" y="10"/>
                  </a:cubicBezTo>
                  <a:cubicBezTo>
                    <a:pt x="63" y="16"/>
                    <a:pt x="67" y="25"/>
                    <a:pt x="67" y="34"/>
                  </a:cubicBezTo>
                  <a:cubicBezTo>
                    <a:pt x="67" y="40"/>
                    <a:pt x="65" y="46"/>
                    <a:pt x="62" y="51"/>
                  </a:cubicBezTo>
                  <a:cubicBezTo>
                    <a:pt x="59" y="56"/>
                    <a:pt x="56" y="59"/>
                    <a:pt x="51" y="62"/>
                  </a:cubicBezTo>
                  <a:cubicBezTo>
                    <a:pt x="51" y="66"/>
                    <a:pt x="51" y="66"/>
                    <a:pt x="51" y="66"/>
                  </a:cubicBezTo>
                  <a:cubicBezTo>
                    <a:pt x="53" y="66"/>
                    <a:pt x="53" y="66"/>
                    <a:pt x="53" y="66"/>
                  </a:cubicBezTo>
                  <a:cubicBezTo>
                    <a:pt x="55" y="65"/>
                    <a:pt x="55" y="65"/>
                    <a:pt x="55" y="65"/>
                  </a:cubicBezTo>
                  <a:cubicBezTo>
                    <a:pt x="56" y="68"/>
                    <a:pt x="56" y="68"/>
                    <a:pt x="56" y="68"/>
                  </a:cubicBezTo>
                  <a:cubicBezTo>
                    <a:pt x="57" y="70"/>
                    <a:pt x="57" y="72"/>
                    <a:pt x="57" y="73"/>
                  </a:cubicBezTo>
                  <a:cubicBezTo>
                    <a:pt x="57" y="75"/>
                    <a:pt x="57" y="77"/>
                    <a:pt x="56" y="79"/>
                  </a:cubicBezTo>
                  <a:cubicBezTo>
                    <a:pt x="56" y="80"/>
                    <a:pt x="56" y="80"/>
                    <a:pt x="56" y="80"/>
                  </a:cubicBezTo>
                  <a:cubicBezTo>
                    <a:pt x="56" y="80"/>
                    <a:pt x="56" y="80"/>
                    <a:pt x="56" y="80"/>
                  </a:cubicBezTo>
                  <a:cubicBezTo>
                    <a:pt x="57" y="82"/>
                    <a:pt x="57" y="84"/>
                    <a:pt x="57" y="86"/>
                  </a:cubicBezTo>
                  <a:cubicBezTo>
                    <a:pt x="57" y="88"/>
                    <a:pt x="57" y="90"/>
                    <a:pt x="56" y="92"/>
                  </a:cubicBezTo>
                  <a:cubicBezTo>
                    <a:pt x="55" y="93"/>
                    <a:pt x="55" y="93"/>
                    <a:pt x="55" y="93"/>
                  </a:cubicBezTo>
                  <a:cubicBezTo>
                    <a:pt x="53" y="94"/>
                    <a:pt x="53" y="94"/>
                    <a:pt x="53" y="94"/>
                  </a:cubicBezTo>
                  <a:cubicBezTo>
                    <a:pt x="15" y="97"/>
                    <a:pt x="15" y="97"/>
                    <a:pt x="15" y="97"/>
                  </a:cubicBezTo>
                  <a:cubicBezTo>
                    <a:pt x="13" y="97"/>
                    <a:pt x="13" y="97"/>
                    <a:pt x="13" y="97"/>
                  </a:cubicBezTo>
                  <a:cubicBezTo>
                    <a:pt x="12" y="95"/>
                    <a:pt x="12" y="95"/>
                    <a:pt x="12" y="95"/>
                  </a:cubicBezTo>
                  <a:cubicBezTo>
                    <a:pt x="11" y="93"/>
                    <a:pt x="11" y="91"/>
                    <a:pt x="10" y="90"/>
                  </a:cubicBezTo>
                  <a:cubicBezTo>
                    <a:pt x="10" y="88"/>
                    <a:pt x="11" y="86"/>
                    <a:pt x="12" y="83"/>
                  </a:cubicBezTo>
                  <a:cubicBezTo>
                    <a:pt x="12" y="83"/>
                    <a:pt x="12" y="83"/>
                    <a:pt x="12" y="83"/>
                  </a:cubicBezTo>
                  <a:cubicBezTo>
                    <a:pt x="12" y="82"/>
                    <a:pt x="12" y="82"/>
                    <a:pt x="12" y="82"/>
                  </a:cubicBezTo>
                  <a:cubicBezTo>
                    <a:pt x="11" y="81"/>
                    <a:pt x="11" y="79"/>
                    <a:pt x="10" y="77"/>
                  </a:cubicBezTo>
                  <a:cubicBezTo>
                    <a:pt x="10" y="75"/>
                    <a:pt x="11" y="73"/>
                    <a:pt x="12" y="71"/>
                  </a:cubicBezTo>
                  <a:cubicBezTo>
                    <a:pt x="13" y="69"/>
                    <a:pt x="13" y="69"/>
                    <a:pt x="13" y="69"/>
                  </a:cubicBezTo>
                  <a:cubicBezTo>
                    <a:pt x="15" y="69"/>
                    <a:pt x="15" y="69"/>
                    <a:pt x="15" y="69"/>
                  </a:cubicBezTo>
                  <a:cubicBezTo>
                    <a:pt x="16" y="69"/>
                    <a:pt x="16" y="69"/>
                    <a:pt x="16" y="69"/>
                  </a:cubicBezTo>
                  <a:cubicBezTo>
                    <a:pt x="16" y="63"/>
                    <a:pt x="16" y="63"/>
                    <a:pt x="16" y="63"/>
                  </a:cubicBezTo>
                  <a:cubicBezTo>
                    <a:pt x="11" y="60"/>
                    <a:pt x="7" y="56"/>
                    <a:pt x="5" y="51"/>
                  </a:cubicBezTo>
                  <a:cubicBezTo>
                    <a:pt x="2" y="46"/>
                    <a:pt x="0" y="40"/>
                    <a:pt x="0" y="34"/>
                  </a:cubicBezTo>
                  <a:cubicBezTo>
                    <a:pt x="0" y="25"/>
                    <a:pt x="4" y="16"/>
                    <a:pt x="10" y="10"/>
                  </a:cubicBezTo>
                  <a:cubicBezTo>
                    <a:pt x="16" y="4"/>
                    <a:pt x="24" y="0"/>
                    <a:pt x="33" y="0"/>
                  </a:cubicBezTo>
                  <a:close/>
                  <a:moveTo>
                    <a:pt x="26" y="40"/>
                  </a:moveTo>
                  <a:cubicBezTo>
                    <a:pt x="27" y="41"/>
                    <a:pt x="27" y="41"/>
                    <a:pt x="28" y="41"/>
                  </a:cubicBezTo>
                  <a:cubicBezTo>
                    <a:pt x="28" y="41"/>
                    <a:pt x="29" y="41"/>
                    <a:pt x="30" y="40"/>
                  </a:cubicBezTo>
                  <a:cubicBezTo>
                    <a:pt x="30" y="39"/>
                    <a:pt x="30" y="39"/>
                    <a:pt x="30" y="39"/>
                  </a:cubicBezTo>
                  <a:cubicBezTo>
                    <a:pt x="31" y="40"/>
                    <a:pt x="31" y="40"/>
                    <a:pt x="31" y="40"/>
                  </a:cubicBezTo>
                  <a:cubicBezTo>
                    <a:pt x="32" y="41"/>
                    <a:pt x="32" y="41"/>
                    <a:pt x="33" y="41"/>
                  </a:cubicBezTo>
                  <a:cubicBezTo>
                    <a:pt x="34" y="41"/>
                    <a:pt x="35" y="41"/>
                    <a:pt x="35" y="40"/>
                  </a:cubicBezTo>
                  <a:cubicBezTo>
                    <a:pt x="36" y="39"/>
                    <a:pt x="36" y="39"/>
                    <a:pt x="36" y="39"/>
                  </a:cubicBezTo>
                  <a:cubicBezTo>
                    <a:pt x="36" y="40"/>
                    <a:pt x="36" y="40"/>
                    <a:pt x="36" y="40"/>
                  </a:cubicBezTo>
                  <a:cubicBezTo>
                    <a:pt x="37" y="41"/>
                    <a:pt x="38" y="41"/>
                    <a:pt x="39" y="41"/>
                  </a:cubicBezTo>
                  <a:cubicBezTo>
                    <a:pt x="40" y="41"/>
                    <a:pt x="41" y="41"/>
                    <a:pt x="42" y="40"/>
                  </a:cubicBezTo>
                  <a:cubicBezTo>
                    <a:pt x="43" y="38"/>
                    <a:pt x="43" y="38"/>
                    <a:pt x="43" y="38"/>
                  </a:cubicBezTo>
                  <a:cubicBezTo>
                    <a:pt x="46" y="40"/>
                    <a:pt x="46" y="40"/>
                    <a:pt x="46" y="40"/>
                  </a:cubicBezTo>
                  <a:cubicBezTo>
                    <a:pt x="39" y="52"/>
                    <a:pt x="39" y="52"/>
                    <a:pt x="39" y="52"/>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2"/>
                    <a:pt x="56" y="47"/>
                  </a:cubicBezTo>
                  <a:cubicBezTo>
                    <a:pt x="59" y="44"/>
                    <a:pt x="60" y="39"/>
                    <a:pt x="60" y="34"/>
                  </a:cubicBezTo>
                  <a:cubicBezTo>
                    <a:pt x="60" y="27"/>
                    <a:pt x="57" y="20"/>
                    <a:pt x="52" y="15"/>
                  </a:cubicBezTo>
                  <a:cubicBezTo>
                    <a:pt x="47" y="10"/>
                    <a:pt x="41" y="7"/>
                    <a:pt x="33" y="7"/>
                  </a:cubicBezTo>
                  <a:cubicBezTo>
                    <a:pt x="26" y="7"/>
                    <a:pt x="19" y="10"/>
                    <a:pt x="15" y="15"/>
                  </a:cubicBezTo>
                  <a:cubicBezTo>
                    <a:pt x="10" y="20"/>
                    <a:pt x="7" y="27"/>
                    <a:pt x="7" y="34"/>
                  </a:cubicBezTo>
                  <a:cubicBezTo>
                    <a:pt x="7" y="39"/>
                    <a:pt x="8" y="44"/>
                    <a:pt x="11" y="48"/>
                  </a:cubicBezTo>
                  <a:cubicBezTo>
                    <a:pt x="13" y="52"/>
                    <a:pt x="17" y="55"/>
                    <a:pt x="21" y="58"/>
                  </a:cubicBezTo>
                  <a:cubicBezTo>
                    <a:pt x="23" y="59"/>
                    <a:pt x="23" y="59"/>
                    <a:pt x="23" y="59"/>
                  </a:cubicBezTo>
                  <a:cubicBezTo>
                    <a:pt x="23" y="61"/>
                    <a:pt x="23" y="61"/>
                    <a:pt x="23" y="61"/>
                  </a:cubicBezTo>
                  <a:cubicBezTo>
                    <a:pt x="23" y="67"/>
                    <a:pt x="23" y="67"/>
                    <a:pt x="23" y="67"/>
                  </a:cubicBezTo>
                  <a:cubicBezTo>
                    <a:pt x="29" y="67"/>
                    <a:pt x="29" y="67"/>
                    <a:pt x="29" y="67"/>
                  </a:cubicBezTo>
                  <a:cubicBezTo>
                    <a:pt x="29" y="52"/>
                    <a:pt x="29" y="52"/>
                    <a:pt x="29" y="52"/>
                  </a:cubicBezTo>
                  <a:cubicBezTo>
                    <a:pt x="22" y="40"/>
                    <a:pt x="22" y="40"/>
                    <a:pt x="22" y="40"/>
                  </a:cubicBezTo>
                  <a:cubicBezTo>
                    <a:pt x="25" y="38"/>
                    <a:pt x="25" y="38"/>
                    <a:pt x="25" y="38"/>
                  </a:cubicBezTo>
                  <a:cubicBezTo>
                    <a:pt x="26" y="40"/>
                    <a:pt x="26" y="40"/>
                    <a:pt x="26" y="40"/>
                  </a:cubicBezTo>
                  <a:close/>
                  <a:moveTo>
                    <a:pt x="40" y="43"/>
                  </a:moveTo>
                  <a:cubicBezTo>
                    <a:pt x="40" y="43"/>
                    <a:pt x="40" y="43"/>
                    <a:pt x="39" y="43"/>
                  </a:cubicBezTo>
                  <a:cubicBezTo>
                    <a:pt x="38" y="43"/>
                    <a:pt x="37" y="43"/>
                    <a:pt x="36" y="42"/>
                  </a:cubicBezTo>
                  <a:cubicBezTo>
                    <a:pt x="35" y="42"/>
                    <a:pt x="34" y="43"/>
                    <a:pt x="33" y="43"/>
                  </a:cubicBezTo>
                  <a:cubicBezTo>
                    <a:pt x="32" y="43"/>
                    <a:pt x="31" y="42"/>
                    <a:pt x="30" y="42"/>
                  </a:cubicBezTo>
                  <a:cubicBezTo>
                    <a:pt x="29" y="42"/>
                    <a:pt x="28" y="43"/>
                    <a:pt x="28" y="43"/>
                  </a:cubicBezTo>
                  <a:cubicBezTo>
                    <a:pt x="27" y="43"/>
                    <a:pt x="27" y="43"/>
                    <a:pt x="27" y="42"/>
                  </a:cubicBezTo>
                  <a:cubicBezTo>
                    <a:pt x="32" y="50"/>
                    <a:pt x="32" y="50"/>
                    <a:pt x="32" y="50"/>
                  </a:cubicBezTo>
                  <a:cubicBezTo>
                    <a:pt x="32" y="51"/>
                    <a:pt x="32" y="51"/>
                    <a:pt x="32" y="51"/>
                  </a:cubicBezTo>
                  <a:cubicBezTo>
                    <a:pt x="32" y="51"/>
                    <a:pt x="32" y="51"/>
                    <a:pt x="32" y="51"/>
                  </a:cubicBezTo>
                  <a:cubicBezTo>
                    <a:pt x="32" y="67"/>
                    <a:pt x="32" y="67"/>
                    <a:pt x="32" y="67"/>
                  </a:cubicBezTo>
                  <a:cubicBezTo>
                    <a:pt x="35" y="67"/>
                    <a:pt x="35" y="67"/>
                    <a:pt x="35" y="67"/>
                  </a:cubicBezTo>
                  <a:cubicBezTo>
                    <a:pt x="35" y="51"/>
                    <a:pt x="35" y="51"/>
                    <a:pt x="35" y="51"/>
                  </a:cubicBezTo>
                  <a:cubicBezTo>
                    <a:pt x="35" y="51"/>
                    <a:pt x="35" y="51"/>
                    <a:pt x="35" y="51"/>
                  </a:cubicBezTo>
                  <a:cubicBezTo>
                    <a:pt x="35" y="50"/>
                    <a:pt x="35" y="50"/>
                    <a:pt x="35" y="50"/>
                  </a:cubicBezTo>
                  <a:cubicBezTo>
                    <a:pt x="40" y="43"/>
                    <a:pt x="40" y="43"/>
                    <a:pt x="40" y="43"/>
                  </a:cubicBezTo>
                  <a:close/>
                  <a:moveTo>
                    <a:pt x="43" y="96"/>
                  </a:moveTo>
                  <a:cubicBezTo>
                    <a:pt x="24" y="98"/>
                    <a:pt x="24" y="98"/>
                    <a:pt x="24" y="98"/>
                  </a:cubicBezTo>
                  <a:cubicBezTo>
                    <a:pt x="25" y="103"/>
                    <a:pt x="29" y="106"/>
                    <a:pt x="34" y="106"/>
                  </a:cubicBezTo>
                  <a:cubicBezTo>
                    <a:pt x="39" y="106"/>
                    <a:pt x="43" y="102"/>
                    <a:pt x="43" y="97"/>
                  </a:cubicBezTo>
                  <a:cubicBezTo>
                    <a:pt x="43" y="97"/>
                    <a:pt x="43" y="97"/>
                    <a:pt x="43" y="96"/>
                  </a:cubicBezTo>
                  <a:close/>
                  <a:moveTo>
                    <a:pt x="50" y="85"/>
                  </a:moveTo>
                  <a:cubicBezTo>
                    <a:pt x="17" y="88"/>
                    <a:pt x="17" y="88"/>
                    <a:pt x="17" y="88"/>
                  </a:cubicBezTo>
                  <a:cubicBezTo>
                    <a:pt x="17" y="89"/>
                    <a:pt x="17" y="89"/>
                    <a:pt x="17" y="89"/>
                  </a:cubicBezTo>
                  <a:cubicBezTo>
                    <a:pt x="17" y="89"/>
                    <a:pt x="17" y="90"/>
                    <a:pt x="17" y="90"/>
                  </a:cubicBezTo>
                  <a:cubicBezTo>
                    <a:pt x="50" y="87"/>
                    <a:pt x="50" y="87"/>
                    <a:pt x="50" y="87"/>
                  </a:cubicBezTo>
                  <a:cubicBezTo>
                    <a:pt x="50" y="87"/>
                    <a:pt x="50" y="86"/>
                    <a:pt x="50" y="86"/>
                  </a:cubicBezTo>
                  <a:cubicBezTo>
                    <a:pt x="50" y="86"/>
                    <a:pt x="50" y="86"/>
                    <a:pt x="50" y="85"/>
                  </a:cubicBezTo>
                  <a:close/>
                  <a:moveTo>
                    <a:pt x="50" y="73"/>
                  </a:moveTo>
                  <a:cubicBezTo>
                    <a:pt x="17" y="76"/>
                    <a:pt x="17" y="76"/>
                    <a:pt x="17" y="76"/>
                  </a:cubicBezTo>
                  <a:cubicBezTo>
                    <a:pt x="17" y="76"/>
                    <a:pt x="17" y="76"/>
                    <a:pt x="17" y="77"/>
                  </a:cubicBezTo>
                  <a:cubicBezTo>
                    <a:pt x="17" y="77"/>
                    <a:pt x="17" y="77"/>
                    <a:pt x="17" y="77"/>
                  </a:cubicBezTo>
                  <a:cubicBezTo>
                    <a:pt x="50" y="74"/>
                    <a:pt x="50" y="74"/>
                    <a:pt x="50" y="74"/>
                  </a:cubicBezTo>
                  <a:cubicBezTo>
                    <a:pt x="50" y="74"/>
                    <a:pt x="50" y="74"/>
                    <a:pt x="50" y="73"/>
                  </a:cubicBezTo>
                  <a:cubicBezTo>
                    <a:pt x="50" y="73"/>
                    <a:pt x="50" y="73"/>
                    <a:pt x="50" y="73"/>
                  </a:cubicBezTo>
                  <a:close/>
                </a:path>
              </a:pathLst>
            </a:custGeom>
            <a:solidFill>
              <a:schemeClr val="bg1"/>
            </a:solidFill>
            <a:ln>
              <a:noFill/>
            </a:ln>
          </p:spPr>
          <p:txBody>
            <a:bodyPr vert="horz" wrap="square" lIns="67203" tIns="33601" rIns="67203" bIns="33601" numCol="1" anchor="t" anchorCtr="0" compatLnSpc="1"/>
            <a:lstStyle/>
            <a:p>
              <a:endParaRPr lang="zh-CN" altLang="en-US" sz="1765">
                <a:solidFill>
                  <a:prstClr val="black"/>
                </a:solidFill>
              </a:endParaRPr>
            </a:p>
          </p:txBody>
        </p:sp>
      </p:grpSp>
      <p:cxnSp>
        <p:nvCxnSpPr>
          <p:cNvPr id="38" name="Straight Connector 44"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1087711"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47"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4497412"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48"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7907111"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9"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2939121" y="3485645"/>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50"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6384561" y="3485645"/>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477">
        <p15:prstTrans prst="pageCurlDouble"/>
      </p:transition>
    </mc:Choice>
    <mc:Fallback xmlns="">
      <p:transition spd="slow" advClick="0" advTm="547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2800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750" fill="hold"/>
                                        <p:tgtEl>
                                          <p:spTgt spid="30"/>
                                        </p:tgtEl>
                                        <p:attrNameLst>
                                          <p:attrName>ppt_x</p:attrName>
                                        </p:attrNameLst>
                                      </p:cBhvr>
                                      <p:tavLst>
                                        <p:tav tm="0">
                                          <p:val>
                                            <p:strVal val="#ppt_x"/>
                                          </p:val>
                                        </p:tav>
                                        <p:tav tm="100000">
                                          <p:val>
                                            <p:strVal val="#ppt_x"/>
                                          </p:val>
                                        </p:tav>
                                      </p:tavLst>
                                    </p:anim>
                                    <p:anim calcmode="lin" valueType="num">
                                      <p:cBhvr additive="base">
                                        <p:cTn id="8" dur="75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1" decel="28000" fill="hold" nodeType="withEffect">
                                  <p:stCondLst>
                                    <p:cond delay="25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750" fill="hold"/>
                                        <p:tgtEl>
                                          <p:spTgt spid="18"/>
                                        </p:tgtEl>
                                        <p:attrNameLst>
                                          <p:attrName>ppt_x</p:attrName>
                                        </p:attrNameLst>
                                      </p:cBhvr>
                                      <p:tavLst>
                                        <p:tav tm="0">
                                          <p:val>
                                            <p:strVal val="#ppt_x"/>
                                          </p:val>
                                        </p:tav>
                                        <p:tav tm="100000">
                                          <p:val>
                                            <p:strVal val="#ppt_x"/>
                                          </p:val>
                                        </p:tav>
                                      </p:tavLst>
                                    </p:anim>
                                    <p:anim calcmode="lin" valueType="num">
                                      <p:cBhvr additive="base">
                                        <p:cTn id="12" dur="750" fill="hold"/>
                                        <p:tgtEl>
                                          <p:spTgt spid="18"/>
                                        </p:tgtEl>
                                        <p:attrNameLst>
                                          <p:attrName>ppt_y</p:attrName>
                                        </p:attrNameLst>
                                      </p:cBhvr>
                                      <p:tavLst>
                                        <p:tav tm="0">
                                          <p:val>
                                            <p:strVal val="0-#ppt_h/2"/>
                                          </p:val>
                                        </p:tav>
                                        <p:tav tm="100000">
                                          <p:val>
                                            <p:strVal val="#ppt_y"/>
                                          </p:val>
                                        </p:tav>
                                      </p:tavLst>
                                    </p:anim>
                                  </p:childTnLst>
                                </p:cTn>
                              </p:par>
                              <p:par>
                                <p:cTn id="13" presetID="2" presetClass="entr" presetSubtype="4" decel="28000" fill="hold" nodeType="withEffect">
                                  <p:stCondLst>
                                    <p:cond delay="50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750" fill="hold"/>
                                        <p:tgtEl>
                                          <p:spTgt spid="21"/>
                                        </p:tgtEl>
                                        <p:attrNameLst>
                                          <p:attrName>ppt_x</p:attrName>
                                        </p:attrNameLst>
                                      </p:cBhvr>
                                      <p:tavLst>
                                        <p:tav tm="0">
                                          <p:val>
                                            <p:strVal val="#ppt_x"/>
                                          </p:val>
                                        </p:tav>
                                        <p:tav tm="100000">
                                          <p:val>
                                            <p:strVal val="#ppt_x"/>
                                          </p:val>
                                        </p:tav>
                                      </p:tavLst>
                                    </p:anim>
                                    <p:anim calcmode="lin" valueType="num">
                                      <p:cBhvr additive="base">
                                        <p:cTn id="16" dur="750" fill="hold"/>
                                        <p:tgtEl>
                                          <p:spTgt spid="21"/>
                                        </p:tgtEl>
                                        <p:attrNameLst>
                                          <p:attrName>ppt_y</p:attrName>
                                        </p:attrNameLst>
                                      </p:cBhvr>
                                      <p:tavLst>
                                        <p:tav tm="0">
                                          <p:val>
                                            <p:strVal val="1+#ppt_h/2"/>
                                          </p:val>
                                        </p:tav>
                                        <p:tav tm="100000">
                                          <p:val>
                                            <p:strVal val="#ppt_y"/>
                                          </p:val>
                                        </p:tav>
                                      </p:tavLst>
                                    </p:anim>
                                  </p:childTnLst>
                                </p:cTn>
                              </p:par>
                              <p:par>
                                <p:cTn id="17" presetID="2" presetClass="entr" presetSubtype="1" decel="28000" fill="hold" nodeType="withEffect">
                                  <p:stCondLst>
                                    <p:cond delay="7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50" fill="hold"/>
                                        <p:tgtEl>
                                          <p:spTgt spid="27"/>
                                        </p:tgtEl>
                                        <p:attrNameLst>
                                          <p:attrName>ppt_x</p:attrName>
                                        </p:attrNameLst>
                                      </p:cBhvr>
                                      <p:tavLst>
                                        <p:tav tm="0">
                                          <p:val>
                                            <p:strVal val="#ppt_x"/>
                                          </p:val>
                                        </p:tav>
                                        <p:tav tm="100000">
                                          <p:val>
                                            <p:strVal val="#ppt_x"/>
                                          </p:val>
                                        </p:tav>
                                      </p:tavLst>
                                    </p:anim>
                                    <p:anim calcmode="lin" valueType="num">
                                      <p:cBhvr additive="base">
                                        <p:cTn id="20" dur="75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4" decel="28000" fill="hold" nodeType="withEffect">
                                  <p:stCondLst>
                                    <p:cond delay="100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750" fill="hold"/>
                                        <p:tgtEl>
                                          <p:spTgt spid="35"/>
                                        </p:tgtEl>
                                        <p:attrNameLst>
                                          <p:attrName>ppt_x</p:attrName>
                                        </p:attrNameLst>
                                      </p:cBhvr>
                                      <p:tavLst>
                                        <p:tav tm="0">
                                          <p:val>
                                            <p:strVal val="#ppt_x"/>
                                          </p:val>
                                        </p:tav>
                                        <p:tav tm="100000">
                                          <p:val>
                                            <p:strVal val="#ppt_x"/>
                                          </p:val>
                                        </p:tav>
                                      </p:tavLst>
                                    </p:anim>
                                    <p:anim calcmode="lin" valueType="num">
                                      <p:cBhvr additive="base">
                                        <p:cTn id="24" dur="750" fill="hold"/>
                                        <p:tgtEl>
                                          <p:spTgt spid="35"/>
                                        </p:tgtEl>
                                        <p:attrNameLst>
                                          <p:attrName>ppt_y</p:attrName>
                                        </p:attrNameLst>
                                      </p:cBhvr>
                                      <p:tavLst>
                                        <p:tav tm="0">
                                          <p:val>
                                            <p:strVal val="1+#ppt_h/2"/>
                                          </p:val>
                                        </p:tav>
                                        <p:tav tm="100000">
                                          <p:val>
                                            <p:strVal val="#ppt_y"/>
                                          </p:val>
                                        </p:tav>
                                      </p:tavLst>
                                    </p:anim>
                                  </p:childTnLst>
                                </p:cTn>
                              </p:par>
                            </p:childTnLst>
                          </p:cTn>
                        </p:par>
                        <p:par>
                          <p:cTn id="25" fill="hold">
                            <p:stCondLst>
                              <p:cond delay="1000"/>
                            </p:stCondLst>
                            <p:childTnLst>
                              <p:par>
                                <p:cTn id="26" presetID="22" presetClass="entr" presetSubtype="4" fill="hold" nodeType="after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down)">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wipe(up)">
                                      <p:cBhvr>
                                        <p:cTn id="31" dur="500"/>
                                        <p:tgtEl>
                                          <p:spTgt spid="41"/>
                                        </p:tgtEl>
                                      </p:cBhvr>
                                    </p:animEffect>
                                  </p:childTnLst>
                                </p:cTn>
                              </p:par>
                              <p:par>
                                <p:cTn id="32" presetID="22" presetClass="entr" presetSubtype="4" fill="hold"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wipe(down)">
                                      <p:cBhvr>
                                        <p:cTn id="34" dur="500"/>
                                        <p:tgtEl>
                                          <p:spTgt spid="39"/>
                                        </p:tgtEl>
                                      </p:cBhvr>
                                    </p:animEffect>
                                  </p:childTnLst>
                                </p:cTn>
                              </p:par>
                              <p:par>
                                <p:cTn id="35" presetID="22" presetClass="entr" presetSubtype="1"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wipe(up)">
                                      <p:cBhvr>
                                        <p:cTn id="37" dur="500"/>
                                        <p:tgtEl>
                                          <p:spTgt spid="44"/>
                                        </p:tgtEl>
                                      </p:cBhvr>
                                    </p:animEffect>
                                  </p:childTnLst>
                                </p:cTn>
                              </p:par>
                              <p:par>
                                <p:cTn id="38" presetID="22" presetClass="entr" presetSubtype="4" fill="hold"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wipe(down)">
                                      <p:cBhvr>
                                        <p:cTn id="40" dur="500"/>
                                        <p:tgtEl>
                                          <p:spTgt spid="40"/>
                                        </p:tgtEl>
                                      </p:cBhvr>
                                    </p:animEffect>
                                  </p:childTnLst>
                                </p:cTn>
                              </p:par>
                            </p:childTnLst>
                          </p:cTn>
                        </p:par>
                        <p:par>
                          <p:cTn id="41" fill="hold">
                            <p:stCondLst>
                              <p:cond delay="1500"/>
                            </p:stCondLst>
                            <p:childTnLst>
                              <p:par>
                                <p:cTn id="42" presetID="50" presetClass="entr" presetSubtype="0" decel="100000" fill="hold" grpId="0" nodeType="afterEffect">
                                  <p:stCondLst>
                                    <p:cond delay="0"/>
                                  </p:stCondLst>
                                  <p:childTnLst>
                                    <p:set>
                                      <p:cBhvr>
                                        <p:cTn id="43" dur="1" fill="hold">
                                          <p:stCondLst>
                                            <p:cond delay="0"/>
                                          </p:stCondLst>
                                        </p:cTn>
                                        <p:tgtEl>
                                          <p:spTgt spid="45"/>
                                        </p:tgtEl>
                                        <p:attrNameLst>
                                          <p:attrName>style.visibility</p:attrName>
                                        </p:attrNameLst>
                                      </p:cBhvr>
                                      <p:to>
                                        <p:strVal val="visible"/>
                                      </p:to>
                                    </p:set>
                                    <p:anim calcmode="lin" valueType="num">
                                      <p:cBhvr>
                                        <p:cTn id="44" dur="1000" fill="hold"/>
                                        <p:tgtEl>
                                          <p:spTgt spid="45"/>
                                        </p:tgtEl>
                                        <p:attrNameLst>
                                          <p:attrName>ppt_w</p:attrName>
                                        </p:attrNameLst>
                                      </p:cBhvr>
                                      <p:tavLst>
                                        <p:tav tm="0">
                                          <p:val>
                                            <p:strVal val="#ppt_w+.3"/>
                                          </p:val>
                                        </p:tav>
                                        <p:tav tm="100000">
                                          <p:val>
                                            <p:strVal val="#ppt_w"/>
                                          </p:val>
                                        </p:tav>
                                      </p:tavLst>
                                    </p:anim>
                                    <p:anim calcmode="lin" valueType="num">
                                      <p:cBhvr>
                                        <p:cTn id="45" dur="1000" fill="hold"/>
                                        <p:tgtEl>
                                          <p:spTgt spid="45"/>
                                        </p:tgtEl>
                                        <p:attrNameLst>
                                          <p:attrName>ppt_h</p:attrName>
                                        </p:attrNameLst>
                                      </p:cBhvr>
                                      <p:tavLst>
                                        <p:tav tm="0">
                                          <p:val>
                                            <p:strVal val="#ppt_h"/>
                                          </p:val>
                                        </p:tav>
                                        <p:tav tm="100000">
                                          <p:val>
                                            <p:strVal val="#ppt_h"/>
                                          </p:val>
                                        </p:tav>
                                      </p:tavLst>
                                    </p:anim>
                                    <p:animEffect transition="in" filter="fade">
                                      <p:cBhvr>
                                        <p:cTn id="46" dur="1000"/>
                                        <p:tgtEl>
                                          <p:spTgt spid="45"/>
                                        </p:tgtEl>
                                      </p:cBhvr>
                                    </p:animEffect>
                                  </p:childTnLst>
                                </p:cTn>
                              </p:par>
                              <p:par>
                                <p:cTn id="47" presetID="50" presetClass="entr" presetSubtype="0" decel="100000" fill="hold" grpId="0" nodeType="withEffect">
                                  <p:stCondLst>
                                    <p:cond delay="250"/>
                                  </p:stCondLst>
                                  <p:childTnLst>
                                    <p:set>
                                      <p:cBhvr>
                                        <p:cTn id="48" dur="1" fill="hold">
                                          <p:stCondLst>
                                            <p:cond delay="0"/>
                                          </p:stCondLst>
                                        </p:cTn>
                                        <p:tgtEl>
                                          <p:spTgt spid="46"/>
                                        </p:tgtEl>
                                        <p:attrNameLst>
                                          <p:attrName>style.visibility</p:attrName>
                                        </p:attrNameLst>
                                      </p:cBhvr>
                                      <p:to>
                                        <p:strVal val="visible"/>
                                      </p:to>
                                    </p:set>
                                    <p:anim calcmode="lin" valueType="num">
                                      <p:cBhvr>
                                        <p:cTn id="49" dur="1000" fill="hold"/>
                                        <p:tgtEl>
                                          <p:spTgt spid="46"/>
                                        </p:tgtEl>
                                        <p:attrNameLst>
                                          <p:attrName>ppt_w</p:attrName>
                                        </p:attrNameLst>
                                      </p:cBhvr>
                                      <p:tavLst>
                                        <p:tav tm="0">
                                          <p:val>
                                            <p:strVal val="#ppt_w+.3"/>
                                          </p:val>
                                        </p:tav>
                                        <p:tav tm="100000">
                                          <p:val>
                                            <p:strVal val="#ppt_w"/>
                                          </p:val>
                                        </p:tav>
                                      </p:tavLst>
                                    </p:anim>
                                    <p:anim calcmode="lin" valueType="num">
                                      <p:cBhvr>
                                        <p:cTn id="50" dur="1000" fill="hold"/>
                                        <p:tgtEl>
                                          <p:spTgt spid="46"/>
                                        </p:tgtEl>
                                        <p:attrNameLst>
                                          <p:attrName>ppt_h</p:attrName>
                                        </p:attrNameLst>
                                      </p:cBhvr>
                                      <p:tavLst>
                                        <p:tav tm="0">
                                          <p:val>
                                            <p:strVal val="#ppt_h"/>
                                          </p:val>
                                        </p:tav>
                                        <p:tav tm="100000">
                                          <p:val>
                                            <p:strVal val="#ppt_h"/>
                                          </p:val>
                                        </p:tav>
                                      </p:tavLst>
                                    </p:anim>
                                    <p:animEffect transition="in" filter="fade">
                                      <p:cBhvr>
                                        <p:cTn id="51" dur="1000"/>
                                        <p:tgtEl>
                                          <p:spTgt spid="46"/>
                                        </p:tgtEl>
                                      </p:cBhvr>
                                    </p:animEffect>
                                  </p:childTnLst>
                                </p:cTn>
                              </p:par>
                              <p:par>
                                <p:cTn id="52" presetID="50" presetClass="entr" presetSubtype="0" decel="100000" fill="hold" grpId="0" nodeType="withEffect">
                                  <p:stCondLst>
                                    <p:cond delay="500"/>
                                  </p:stCondLst>
                                  <p:childTnLst>
                                    <p:set>
                                      <p:cBhvr>
                                        <p:cTn id="53" dur="1" fill="hold">
                                          <p:stCondLst>
                                            <p:cond delay="0"/>
                                          </p:stCondLst>
                                        </p:cTn>
                                        <p:tgtEl>
                                          <p:spTgt spid="47"/>
                                        </p:tgtEl>
                                        <p:attrNameLst>
                                          <p:attrName>style.visibility</p:attrName>
                                        </p:attrNameLst>
                                      </p:cBhvr>
                                      <p:to>
                                        <p:strVal val="visible"/>
                                      </p:to>
                                    </p:set>
                                    <p:anim calcmode="lin" valueType="num">
                                      <p:cBhvr>
                                        <p:cTn id="54" dur="1000" fill="hold"/>
                                        <p:tgtEl>
                                          <p:spTgt spid="47"/>
                                        </p:tgtEl>
                                        <p:attrNameLst>
                                          <p:attrName>ppt_w</p:attrName>
                                        </p:attrNameLst>
                                      </p:cBhvr>
                                      <p:tavLst>
                                        <p:tav tm="0">
                                          <p:val>
                                            <p:strVal val="#ppt_w+.3"/>
                                          </p:val>
                                        </p:tav>
                                        <p:tav tm="100000">
                                          <p:val>
                                            <p:strVal val="#ppt_w"/>
                                          </p:val>
                                        </p:tav>
                                      </p:tavLst>
                                    </p:anim>
                                    <p:anim calcmode="lin" valueType="num">
                                      <p:cBhvr>
                                        <p:cTn id="55" dur="1000" fill="hold"/>
                                        <p:tgtEl>
                                          <p:spTgt spid="47"/>
                                        </p:tgtEl>
                                        <p:attrNameLst>
                                          <p:attrName>ppt_h</p:attrName>
                                        </p:attrNameLst>
                                      </p:cBhvr>
                                      <p:tavLst>
                                        <p:tav tm="0">
                                          <p:val>
                                            <p:strVal val="#ppt_h"/>
                                          </p:val>
                                        </p:tav>
                                        <p:tav tm="100000">
                                          <p:val>
                                            <p:strVal val="#ppt_h"/>
                                          </p:val>
                                        </p:tav>
                                      </p:tavLst>
                                    </p:anim>
                                    <p:animEffect transition="in" filter="fade">
                                      <p:cBhvr>
                                        <p:cTn id="56" dur="1000"/>
                                        <p:tgtEl>
                                          <p:spTgt spid="47"/>
                                        </p:tgtEl>
                                      </p:cBhvr>
                                    </p:animEffect>
                                  </p:childTnLst>
                                </p:cTn>
                              </p:par>
                              <p:par>
                                <p:cTn id="57" presetID="50" presetClass="entr" presetSubtype="0" decel="100000" fill="hold" grpId="0" nodeType="withEffect">
                                  <p:stCondLst>
                                    <p:cond delay="750"/>
                                  </p:stCondLst>
                                  <p:childTnLst>
                                    <p:set>
                                      <p:cBhvr>
                                        <p:cTn id="58" dur="1" fill="hold">
                                          <p:stCondLst>
                                            <p:cond delay="0"/>
                                          </p:stCondLst>
                                        </p:cTn>
                                        <p:tgtEl>
                                          <p:spTgt spid="48"/>
                                        </p:tgtEl>
                                        <p:attrNameLst>
                                          <p:attrName>style.visibility</p:attrName>
                                        </p:attrNameLst>
                                      </p:cBhvr>
                                      <p:to>
                                        <p:strVal val="visible"/>
                                      </p:to>
                                    </p:set>
                                    <p:anim calcmode="lin" valueType="num">
                                      <p:cBhvr>
                                        <p:cTn id="59" dur="1000" fill="hold"/>
                                        <p:tgtEl>
                                          <p:spTgt spid="48"/>
                                        </p:tgtEl>
                                        <p:attrNameLst>
                                          <p:attrName>ppt_w</p:attrName>
                                        </p:attrNameLst>
                                      </p:cBhvr>
                                      <p:tavLst>
                                        <p:tav tm="0">
                                          <p:val>
                                            <p:strVal val="#ppt_w+.3"/>
                                          </p:val>
                                        </p:tav>
                                        <p:tav tm="100000">
                                          <p:val>
                                            <p:strVal val="#ppt_w"/>
                                          </p:val>
                                        </p:tav>
                                      </p:tavLst>
                                    </p:anim>
                                    <p:anim calcmode="lin" valueType="num">
                                      <p:cBhvr>
                                        <p:cTn id="60" dur="1000" fill="hold"/>
                                        <p:tgtEl>
                                          <p:spTgt spid="48"/>
                                        </p:tgtEl>
                                        <p:attrNameLst>
                                          <p:attrName>ppt_h</p:attrName>
                                        </p:attrNameLst>
                                      </p:cBhvr>
                                      <p:tavLst>
                                        <p:tav tm="0">
                                          <p:val>
                                            <p:strVal val="#ppt_h"/>
                                          </p:val>
                                        </p:tav>
                                        <p:tav tm="100000">
                                          <p:val>
                                            <p:strVal val="#ppt_h"/>
                                          </p:val>
                                        </p:tav>
                                      </p:tavLst>
                                    </p:anim>
                                    <p:animEffect transition="in" filter="fade">
                                      <p:cBhvr>
                                        <p:cTn id="61" dur="1000"/>
                                        <p:tgtEl>
                                          <p:spTgt spid="48"/>
                                        </p:tgtEl>
                                      </p:cBhvr>
                                    </p:animEffect>
                                  </p:childTnLst>
                                </p:cTn>
                              </p:par>
                              <p:par>
                                <p:cTn id="62" presetID="50" presetClass="entr" presetSubtype="0" decel="100000" fill="hold" grpId="0" nodeType="withEffect">
                                  <p:stCondLst>
                                    <p:cond delay="1000"/>
                                  </p:stCondLst>
                                  <p:childTnLst>
                                    <p:set>
                                      <p:cBhvr>
                                        <p:cTn id="63" dur="1" fill="hold">
                                          <p:stCondLst>
                                            <p:cond delay="0"/>
                                          </p:stCondLst>
                                        </p:cTn>
                                        <p:tgtEl>
                                          <p:spTgt spid="49"/>
                                        </p:tgtEl>
                                        <p:attrNameLst>
                                          <p:attrName>style.visibility</p:attrName>
                                        </p:attrNameLst>
                                      </p:cBhvr>
                                      <p:to>
                                        <p:strVal val="visible"/>
                                      </p:to>
                                    </p:set>
                                    <p:anim calcmode="lin" valueType="num">
                                      <p:cBhvr>
                                        <p:cTn id="64" dur="1000" fill="hold"/>
                                        <p:tgtEl>
                                          <p:spTgt spid="49"/>
                                        </p:tgtEl>
                                        <p:attrNameLst>
                                          <p:attrName>ppt_w</p:attrName>
                                        </p:attrNameLst>
                                      </p:cBhvr>
                                      <p:tavLst>
                                        <p:tav tm="0">
                                          <p:val>
                                            <p:strVal val="#ppt_w+.3"/>
                                          </p:val>
                                        </p:tav>
                                        <p:tav tm="100000">
                                          <p:val>
                                            <p:strVal val="#ppt_w"/>
                                          </p:val>
                                        </p:tav>
                                      </p:tavLst>
                                    </p:anim>
                                    <p:anim calcmode="lin" valueType="num">
                                      <p:cBhvr>
                                        <p:cTn id="65" dur="1000" fill="hold"/>
                                        <p:tgtEl>
                                          <p:spTgt spid="49"/>
                                        </p:tgtEl>
                                        <p:attrNameLst>
                                          <p:attrName>ppt_h</p:attrName>
                                        </p:attrNameLst>
                                      </p:cBhvr>
                                      <p:tavLst>
                                        <p:tav tm="0">
                                          <p:val>
                                            <p:strVal val="#ppt_h"/>
                                          </p:val>
                                        </p:tav>
                                        <p:tav tm="100000">
                                          <p:val>
                                            <p:strVal val="#ppt_h"/>
                                          </p:val>
                                        </p:tav>
                                      </p:tavLst>
                                    </p:anim>
                                    <p:animEffect transition="in" filter="fade">
                                      <p:cBhvr>
                                        <p:cTn id="66"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P spid="4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443110" y="3459139"/>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p>
        </p:txBody>
      </p:sp>
      <p:sp>
        <p:nvSpPr>
          <p:cNvPr id="16" name="矩形 15"/>
          <p:cNvSpPr/>
          <p:nvPr/>
        </p:nvSpPr>
        <p:spPr>
          <a:xfrm>
            <a:off x="1147395" y="3739304"/>
            <a:ext cx="1922313" cy="472437"/>
          </a:xfrm>
          <a:prstGeom prst="rect">
            <a:avLst/>
          </a:prstGeom>
        </p:spPr>
        <p:txBody>
          <a:bodyPr wrap="square">
            <a:spAutoFit/>
          </a:bodyPr>
          <a:lstStyle/>
          <a:p>
            <a:pPr algn="ct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grpSp>
        <p:nvGrpSpPr>
          <p:cNvPr id="17" name="组合 16"/>
          <p:cNvGrpSpPr/>
          <p:nvPr/>
        </p:nvGrpSpPr>
        <p:grpSpPr>
          <a:xfrm>
            <a:off x="4266641" y="3126021"/>
            <a:ext cx="496660" cy="536847"/>
            <a:chOff x="5703888" y="3017838"/>
            <a:chExt cx="765175" cy="827088"/>
          </a:xfrm>
          <a:solidFill>
            <a:srgbClr val="2C53B6"/>
          </a:solidFill>
        </p:grpSpPr>
        <p:sp>
          <p:nvSpPr>
            <p:cNvPr id="18" name="Freeform 230"/>
            <p:cNvSpPr/>
            <p:nvPr/>
          </p:nvSpPr>
          <p:spPr bwMode="auto">
            <a:xfrm>
              <a:off x="5867401" y="3390901"/>
              <a:ext cx="179388" cy="201613"/>
            </a:xfrm>
            <a:custGeom>
              <a:avLst/>
              <a:gdLst>
                <a:gd name="T0" fmla="*/ 42 w 47"/>
                <a:gd name="T1" fmla="*/ 19 h 53"/>
                <a:gd name="T2" fmla="*/ 33 w 47"/>
                <a:gd name="T3" fmla="*/ 49 h 53"/>
                <a:gd name="T4" fmla="*/ 5 w 47"/>
                <a:gd name="T5" fmla="*/ 34 h 53"/>
                <a:gd name="T6" fmla="*/ 14 w 47"/>
                <a:gd name="T7" fmla="*/ 4 h 53"/>
                <a:gd name="T8" fmla="*/ 42 w 47"/>
                <a:gd name="T9" fmla="*/ 19 h 53"/>
              </a:gdLst>
              <a:ahLst/>
              <a:cxnLst>
                <a:cxn ang="0">
                  <a:pos x="T0" y="T1"/>
                </a:cxn>
                <a:cxn ang="0">
                  <a:pos x="T2" y="T3"/>
                </a:cxn>
                <a:cxn ang="0">
                  <a:pos x="T4" y="T5"/>
                </a:cxn>
                <a:cxn ang="0">
                  <a:pos x="T6" y="T7"/>
                </a:cxn>
                <a:cxn ang="0">
                  <a:pos x="T8" y="T9"/>
                </a:cxn>
              </a:cxnLst>
              <a:rect l="0" t="0" r="r" b="b"/>
              <a:pathLst>
                <a:path w="47" h="53">
                  <a:moveTo>
                    <a:pt x="42" y="19"/>
                  </a:moveTo>
                  <a:cubicBezTo>
                    <a:pt x="47" y="32"/>
                    <a:pt x="43" y="45"/>
                    <a:pt x="33" y="49"/>
                  </a:cubicBezTo>
                  <a:cubicBezTo>
                    <a:pt x="23" y="53"/>
                    <a:pt x="11" y="47"/>
                    <a:pt x="5" y="34"/>
                  </a:cubicBezTo>
                  <a:cubicBezTo>
                    <a:pt x="0" y="22"/>
                    <a:pt x="4" y="8"/>
                    <a:pt x="14" y="4"/>
                  </a:cubicBezTo>
                  <a:cubicBezTo>
                    <a:pt x="24" y="0"/>
                    <a:pt x="37" y="7"/>
                    <a:pt x="42"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19" name="Freeform 231"/>
            <p:cNvSpPr/>
            <p:nvPr/>
          </p:nvSpPr>
          <p:spPr bwMode="auto">
            <a:xfrm>
              <a:off x="5703888" y="3490913"/>
              <a:ext cx="441325" cy="354013"/>
            </a:xfrm>
            <a:custGeom>
              <a:avLst/>
              <a:gdLst>
                <a:gd name="T0" fmla="*/ 110 w 116"/>
                <a:gd name="T1" fmla="*/ 79 h 93"/>
                <a:gd name="T2" fmla="*/ 101 w 116"/>
                <a:gd name="T3" fmla="*/ 38 h 93"/>
                <a:gd name="T4" fmla="*/ 89 w 116"/>
                <a:gd name="T5" fmla="*/ 29 h 93"/>
                <a:gd name="T6" fmla="*/ 84 w 116"/>
                <a:gd name="T7" fmla="*/ 28 h 93"/>
                <a:gd name="T8" fmla="*/ 89 w 116"/>
                <a:gd name="T9" fmla="*/ 35 h 93"/>
                <a:gd name="T10" fmla="*/ 83 w 116"/>
                <a:gd name="T11" fmla="*/ 40 h 93"/>
                <a:gd name="T12" fmla="*/ 87 w 116"/>
                <a:gd name="T13" fmla="*/ 48 h 93"/>
                <a:gd name="T14" fmla="*/ 79 w 116"/>
                <a:gd name="T15" fmla="*/ 93 h 93"/>
                <a:gd name="T16" fmla="*/ 79 w 116"/>
                <a:gd name="T17" fmla="*/ 93 h 93"/>
                <a:gd name="T18" fmla="*/ 79 w 116"/>
                <a:gd name="T19" fmla="*/ 93 h 93"/>
                <a:gd name="T20" fmla="*/ 79 w 116"/>
                <a:gd name="T21" fmla="*/ 93 h 93"/>
                <a:gd name="T22" fmla="*/ 79 w 116"/>
                <a:gd name="T23" fmla="*/ 93 h 93"/>
                <a:gd name="T24" fmla="*/ 64 w 116"/>
                <a:gd name="T25" fmla="*/ 50 h 93"/>
                <a:gd name="T26" fmla="*/ 66 w 116"/>
                <a:gd name="T27" fmla="*/ 42 h 93"/>
                <a:gd name="T28" fmla="*/ 60 w 116"/>
                <a:gd name="T29" fmla="*/ 37 h 93"/>
                <a:gd name="T30" fmla="*/ 63 w 116"/>
                <a:gd name="T31" fmla="*/ 29 h 93"/>
                <a:gd name="T32" fmla="*/ 34 w 116"/>
                <a:gd name="T33" fmla="*/ 34 h 93"/>
                <a:gd name="T34" fmla="*/ 44 w 116"/>
                <a:gd name="T35" fmla="*/ 9 h 93"/>
                <a:gd name="T36" fmla="*/ 17 w 116"/>
                <a:gd name="T37" fmla="*/ 0 h 93"/>
                <a:gd name="T38" fmla="*/ 5 w 116"/>
                <a:gd name="T39" fmla="*/ 43 h 93"/>
                <a:gd name="T40" fmla="*/ 4 w 116"/>
                <a:gd name="T41" fmla="*/ 46 h 93"/>
                <a:gd name="T42" fmla="*/ 3 w 116"/>
                <a:gd name="T43" fmla="*/ 47 h 93"/>
                <a:gd name="T44" fmla="*/ 3 w 116"/>
                <a:gd name="T45" fmla="*/ 48 h 93"/>
                <a:gd name="T46" fmla="*/ 3 w 116"/>
                <a:gd name="T47" fmla="*/ 48 h 93"/>
                <a:gd name="T48" fmla="*/ 3 w 116"/>
                <a:gd name="T49" fmla="*/ 48 h 93"/>
                <a:gd name="T50" fmla="*/ 3 w 116"/>
                <a:gd name="T51" fmla="*/ 48 h 93"/>
                <a:gd name="T52" fmla="*/ 18 w 116"/>
                <a:gd name="T53" fmla="*/ 64 h 93"/>
                <a:gd name="T54" fmla="*/ 18 w 116"/>
                <a:gd name="T55" fmla="*/ 64 h 93"/>
                <a:gd name="T56" fmla="*/ 18 w 116"/>
                <a:gd name="T57" fmla="*/ 64 h 93"/>
                <a:gd name="T58" fmla="*/ 23 w 116"/>
                <a:gd name="T59" fmla="*/ 62 h 93"/>
                <a:gd name="T60" fmla="*/ 34 w 116"/>
                <a:gd name="T61" fmla="*/ 59 h 93"/>
                <a:gd name="T62" fmla="*/ 41 w 116"/>
                <a:gd name="T63" fmla="*/ 57 h 93"/>
                <a:gd name="T64" fmla="*/ 43 w 116"/>
                <a:gd name="T65" fmla="*/ 93 h 93"/>
                <a:gd name="T66" fmla="*/ 89 w 116"/>
                <a:gd name="T67" fmla="*/ 93 h 93"/>
                <a:gd name="T68" fmla="*/ 99 w 116"/>
                <a:gd name="T69" fmla="*/ 93 h 93"/>
                <a:gd name="T70" fmla="*/ 116 w 116"/>
                <a:gd name="T71" fmla="*/ 93 h 93"/>
                <a:gd name="T72" fmla="*/ 110 w 116"/>
                <a:gd name="T73"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93">
                  <a:moveTo>
                    <a:pt x="110" y="79"/>
                  </a:moveTo>
                  <a:cubicBezTo>
                    <a:pt x="106" y="69"/>
                    <a:pt x="104" y="51"/>
                    <a:pt x="101" y="38"/>
                  </a:cubicBezTo>
                  <a:cubicBezTo>
                    <a:pt x="100" y="32"/>
                    <a:pt x="96" y="29"/>
                    <a:pt x="89" y="29"/>
                  </a:cubicBezTo>
                  <a:cubicBezTo>
                    <a:pt x="88" y="29"/>
                    <a:pt x="85" y="28"/>
                    <a:pt x="84" y="28"/>
                  </a:cubicBezTo>
                  <a:cubicBezTo>
                    <a:pt x="89" y="35"/>
                    <a:pt x="89" y="35"/>
                    <a:pt x="89" y="35"/>
                  </a:cubicBezTo>
                  <a:cubicBezTo>
                    <a:pt x="83" y="40"/>
                    <a:pt x="83" y="40"/>
                    <a:pt x="83" y="40"/>
                  </a:cubicBezTo>
                  <a:cubicBezTo>
                    <a:pt x="87" y="48"/>
                    <a:pt x="87" y="48"/>
                    <a:pt x="87" y="48"/>
                  </a:cubicBezTo>
                  <a:cubicBezTo>
                    <a:pt x="79" y="93"/>
                    <a:pt x="79" y="93"/>
                    <a:pt x="79" y="93"/>
                  </a:cubicBezTo>
                  <a:cubicBezTo>
                    <a:pt x="79" y="93"/>
                    <a:pt x="79" y="93"/>
                    <a:pt x="79" y="93"/>
                  </a:cubicBezTo>
                  <a:cubicBezTo>
                    <a:pt x="79" y="93"/>
                    <a:pt x="79" y="93"/>
                    <a:pt x="79" y="93"/>
                  </a:cubicBezTo>
                  <a:cubicBezTo>
                    <a:pt x="79" y="93"/>
                    <a:pt x="79" y="93"/>
                    <a:pt x="79" y="93"/>
                  </a:cubicBezTo>
                  <a:cubicBezTo>
                    <a:pt x="79" y="93"/>
                    <a:pt x="79" y="93"/>
                    <a:pt x="79" y="93"/>
                  </a:cubicBezTo>
                  <a:cubicBezTo>
                    <a:pt x="64" y="50"/>
                    <a:pt x="64" y="50"/>
                    <a:pt x="64" y="50"/>
                  </a:cubicBezTo>
                  <a:cubicBezTo>
                    <a:pt x="66" y="42"/>
                    <a:pt x="66" y="42"/>
                    <a:pt x="66" y="42"/>
                  </a:cubicBezTo>
                  <a:cubicBezTo>
                    <a:pt x="60" y="37"/>
                    <a:pt x="60" y="37"/>
                    <a:pt x="60" y="37"/>
                  </a:cubicBezTo>
                  <a:cubicBezTo>
                    <a:pt x="63" y="29"/>
                    <a:pt x="63" y="29"/>
                    <a:pt x="63" y="29"/>
                  </a:cubicBezTo>
                  <a:cubicBezTo>
                    <a:pt x="56" y="29"/>
                    <a:pt x="34" y="34"/>
                    <a:pt x="34" y="34"/>
                  </a:cubicBezTo>
                  <a:cubicBezTo>
                    <a:pt x="44" y="9"/>
                    <a:pt x="44" y="9"/>
                    <a:pt x="44" y="9"/>
                  </a:cubicBezTo>
                  <a:cubicBezTo>
                    <a:pt x="35" y="5"/>
                    <a:pt x="26" y="2"/>
                    <a:pt x="17" y="0"/>
                  </a:cubicBezTo>
                  <a:cubicBezTo>
                    <a:pt x="5" y="43"/>
                    <a:pt x="5" y="43"/>
                    <a:pt x="5" y="43"/>
                  </a:cubicBezTo>
                  <a:cubicBezTo>
                    <a:pt x="4" y="46"/>
                    <a:pt x="4" y="46"/>
                    <a:pt x="4" y="46"/>
                  </a:cubicBezTo>
                  <a:cubicBezTo>
                    <a:pt x="3" y="47"/>
                    <a:pt x="3" y="47"/>
                    <a:pt x="3" y="47"/>
                  </a:cubicBezTo>
                  <a:cubicBezTo>
                    <a:pt x="3" y="48"/>
                    <a:pt x="3" y="48"/>
                    <a:pt x="3" y="48"/>
                  </a:cubicBezTo>
                  <a:cubicBezTo>
                    <a:pt x="3" y="48"/>
                    <a:pt x="3" y="48"/>
                    <a:pt x="3" y="48"/>
                  </a:cubicBezTo>
                  <a:cubicBezTo>
                    <a:pt x="3" y="48"/>
                    <a:pt x="3" y="48"/>
                    <a:pt x="3" y="48"/>
                  </a:cubicBezTo>
                  <a:cubicBezTo>
                    <a:pt x="3" y="48"/>
                    <a:pt x="3" y="48"/>
                    <a:pt x="3" y="48"/>
                  </a:cubicBezTo>
                  <a:cubicBezTo>
                    <a:pt x="0" y="45"/>
                    <a:pt x="31" y="78"/>
                    <a:pt x="18" y="64"/>
                  </a:cubicBezTo>
                  <a:cubicBezTo>
                    <a:pt x="18" y="64"/>
                    <a:pt x="18" y="64"/>
                    <a:pt x="18" y="64"/>
                  </a:cubicBezTo>
                  <a:cubicBezTo>
                    <a:pt x="18" y="64"/>
                    <a:pt x="18" y="64"/>
                    <a:pt x="18" y="64"/>
                  </a:cubicBezTo>
                  <a:cubicBezTo>
                    <a:pt x="23" y="62"/>
                    <a:pt x="23" y="62"/>
                    <a:pt x="23" y="62"/>
                  </a:cubicBezTo>
                  <a:cubicBezTo>
                    <a:pt x="34" y="59"/>
                    <a:pt x="34" y="59"/>
                    <a:pt x="34" y="59"/>
                  </a:cubicBezTo>
                  <a:cubicBezTo>
                    <a:pt x="41" y="57"/>
                    <a:pt x="41" y="57"/>
                    <a:pt x="41" y="57"/>
                  </a:cubicBezTo>
                  <a:cubicBezTo>
                    <a:pt x="41" y="69"/>
                    <a:pt x="42" y="81"/>
                    <a:pt x="43" y="93"/>
                  </a:cubicBezTo>
                  <a:cubicBezTo>
                    <a:pt x="89" y="93"/>
                    <a:pt x="89" y="93"/>
                    <a:pt x="89" y="93"/>
                  </a:cubicBezTo>
                  <a:cubicBezTo>
                    <a:pt x="99" y="93"/>
                    <a:pt x="99" y="93"/>
                    <a:pt x="99" y="93"/>
                  </a:cubicBezTo>
                  <a:cubicBezTo>
                    <a:pt x="116" y="93"/>
                    <a:pt x="116" y="93"/>
                    <a:pt x="116" y="93"/>
                  </a:cubicBezTo>
                  <a:lnTo>
                    <a:pt x="110"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0" name="Freeform 232"/>
            <p:cNvSpPr/>
            <p:nvPr/>
          </p:nvSpPr>
          <p:spPr bwMode="auto">
            <a:xfrm>
              <a:off x="6005513" y="3840163"/>
              <a:ext cx="0" cy="4763"/>
            </a:xfrm>
            <a:custGeom>
              <a:avLst/>
              <a:gdLst>
                <a:gd name="T0" fmla="*/ 3 h 3"/>
                <a:gd name="T1" fmla="*/ 0 h 3"/>
                <a:gd name="T2" fmla="*/ 3 h 3"/>
                <a:gd name="T3" fmla="*/ 0 h 3"/>
                <a:gd name="T4" fmla="*/ 3 h 3"/>
              </a:gdLst>
              <a:ahLst/>
              <a:cxnLst>
                <a:cxn ang="0">
                  <a:pos x="0" y="T0"/>
                </a:cxn>
                <a:cxn ang="0">
                  <a:pos x="0" y="T1"/>
                </a:cxn>
                <a:cxn ang="0">
                  <a:pos x="0" y="T2"/>
                </a:cxn>
                <a:cxn ang="0">
                  <a:pos x="0" y="T3"/>
                </a:cxn>
                <a:cxn ang="0">
                  <a:pos x="0" y="T4"/>
                </a:cxn>
              </a:cxnLst>
              <a:rect l="0" t="0" r="r" b="b"/>
              <a:pathLst>
                <a:path h="3">
                  <a:moveTo>
                    <a:pt x="0" y="3"/>
                  </a:moveTo>
                  <a:lnTo>
                    <a:pt x="0" y="0"/>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1" name="Freeform 233"/>
            <p:cNvSpPr/>
            <p:nvPr/>
          </p:nvSpPr>
          <p:spPr bwMode="auto">
            <a:xfrm>
              <a:off x="5973763" y="3597276"/>
              <a:ext cx="26988" cy="57150"/>
            </a:xfrm>
            <a:custGeom>
              <a:avLst/>
              <a:gdLst>
                <a:gd name="T0" fmla="*/ 12 w 17"/>
                <a:gd name="T1" fmla="*/ 0 h 36"/>
                <a:gd name="T2" fmla="*/ 17 w 17"/>
                <a:gd name="T3" fmla="*/ 21 h 36"/>
                <a:gd name="T4" fmla="*/ 10 w 17"/>
                <a:gd name="T5" fmla="*/ 36 h 36"/>
                <a:gd name="T6" fmla="*/ 0 w 17"/>
                <a:gd name="T7" fmla="*/ 21 h 36"/>
                <a:gd name="T8" fmla="*/ 3 w 17"/>
                <a:gd name="T9" fmla="*/ 0 h 36"/>
                <a:gd name="T10" fmla="*/ 12 w 17"/>
                <a:gd name="T11" fmla="*/ 0 h 36"/>
              </a:gdLst>
              <a:ahLst/>
              <a:cxnLst>
                <a:cxn ang="0">
                  <a:pos x="T0" y="T1"/>
                </a:cxn>
                <a:cxn ang="0">
                  <a:pos x="T2" y="T3"/>
                </a:cxn>
                <a:cxn ang="0">
                  <a:pos x="T4" y="T5"/>
                </a:cxn>
                <a:cxn ang="0">
                  <a:pos x="T6" y="T7"/>
                </a:cxn>
                <a:cxn ang="0">
                  <a:pos x="T8" y="T9"/>
                </a:cxn>
                <a:cxn ang="0">
                  <a:pos x="T10" y="T11"/>
                </a:cxn>
              </a:cxnLst>
              <a:rect l="0" t="0" r="r" b="b"/>
              <a:pathLst>
                <a:path w="17" h="36">
                  <a:moveTo>
                    <a:pt x="12" y="0"/>
                  </a:moveTo>
                  <a:lnTo>
                    <a:pt x="17" y="21"/>
                  </a:lnTo>
                  <a:lnTo>
                    <a:pt x="10" y="36"/>
                  </a:lnTo>
                  <a:lnTo>
                    <a:pt x="0" y="21"/>
                  </a:lnTo>
                  <a:lnTo>
                    <a:pt x="3"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2" name="Freeform 234"/>
            <p:cNvSpPr/>
            <p:nvPr/>
          </p:nvSpPr>
          <p:spPr bwMode="auto">
            <a:xfrm>
              <a:off x="5978526" y="3635376"/>
              <a:ext cx="41275" cy="209550"/>
            </a:xfrm>
            <a:custGeom>
              <a:avLst/>
              <a:gdLst>
                <a:gd name="T0" fmla="*/ 12 w 26"/>
                <a:gd name="T1" fmla="*/ 0 h 132"/>
                <a:gd name="T2" fmla="*/ 26 w 26"/>
                <a:gd name="T3" fmla="*/ 129 h 132"/>
                <a:gd name="T4" fmla="*/ 17 w 26"/>
                <a:gd name="T5" fmla="*/ 132 h 132"/>
                <a:gd name="T6" fmla="*/ 7 w 26"/>
                <a:gd name="T7" fmla="*/ 132 h 132"/>
                <a:gd name="T8" fmla="*/ 0 w 26"/>
                <a:gd name="T9" fmla="*/ 0 h 132"/>
                <a:gd name="T10" fmla="*/ 12 w 26"/>
                <a:gd name="T11" fmla="*/ 0 h 132"/>
              </a:gdLst>
              <a:ahLst/>
              <a:cxnLst>
                <a:cxn ang="0">
                  <a:pos x="T0" y="T1"/>
                </a:cxn>
                <a:cxn ang="0">
                  <a:pos x="T2" y="T3"/>
                </a:cxn>
                <a:cxn ang="0">
                  <a:pos x="T4" y="T5"/>
                </a:cxn>
                <a:cxn ang="0">
                  <a:pos x="T6" y="T7"/>
                </a:cxn>
                <a:cxn ang="0">
                  <a:pos x="T8" y="T9"/>
                </a:cxn>
                <a:cxn ang="0">
                  <a:pos x="T10" y="T11"/>
                </a:cxn>
              </a:cxnLst>
              <a:rect l="0" t="0" r="r" b="b"/>
              <a:pathLst>
                <a:path w="26" h="132">
                  <a:moveTo>
                    <a:pt x="12" y="0"/>
                  </a:moveTo>
                  <a:lnTo>
                    <a:pt x="26" y="129"/>
                  </a:lnTo>
                  <a:lnTo>
                    <a:pt x="17" y="132"/>
                  </a:lnTo>
                  <a:lnTo>
                    <a:pt x="7" y="132"/>
                  </a:lnTo>
                  <a:lnTo>
                    <a:pt x="0"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3" name="Freeform 235"/>
            <p:cNvSpPr/>
            <p:nvPr/>
          </p:nvSpPr>
          <p:spPr bwMode="auto">
            <a:xfrm>
              <a:off x="6115051" y="3230563"/>
              <a:ext cx="133350" cy="266700"/>
            </a:xfrm>
            <a:custGeom>
              <a:avLst/>
              <a:gdLst>
                <a:gd name="T0" fmla="*/ 10 w 35"/>
                <a:gd name="T1" fmla="*/ 45 h 70"/>
                <a:gd name="T2" fmla="*/ 18 w 35"/>
                <a:gd name="T3" fmla="*/ 53 h 70"/>
                <a:gd name="T4" fmla="*/ 25 w 35"/>
                <a:gd name="T5" fmla="*/ 46 h 70"/>
                <a:gd name="T6" fmla="*/ 17 w 35"/>
                <a:gd name="T7" fmla="*/ 38 h 70"/>
                <a:gd name="T8" fmla="*/ 6 w 35"/>
                <a:gd name="T9" fmla="*/ 34 h 70"/>
                <a:gd name="T10" fmla="*/ 0 w 35"/>
                <a:gd name="T11" fmla="*/ 22 h 70"/>
                <a:gd name="T12" fmla="*/ 13 w 35"/>
                <a:gd name="T13" fmla="*/ 7 h 70"/>
                <a:gd name="T14" fmla="*/ 13 w 35"/>
                <a:gd name="T15" fmla="*/ 0 h 70"/>
                <a:gd name="T16" fmla="*/ 21 w 35"/>
                <a:gd name="T17" fmla="*/ 0 h 70"/>
                <a:gd name="T18" fmla="*/ 21 w 35"/>
                <a:gd name="T19" fmla="*/ 8 h 70"/>
                <a:gd name="T20" fmla="*/ 26 w 35"/>
                <a:gd name="T21" fmla="*/ 11 h 70"/>
                <a:gd name="T22" fmla="*/ 26 w 35"/>
                <a:gd name="T23" fmla="*/ 8 h 70"/>
                <a:gd name="T24" fmla="*/ 32 w 35"/>
                <a:gd name="T25" fmla="*/ 8 h 70"/>
                <a:gd name="T26" fmla="*/ 32 w 35"/>
                <a:gd name="T27" fmla="*/ 22 h 70"/>
                <a:gd name="T28" fmla="*/ 24 w 35"/>
                <a:gd name="T29" fmla="*/ 22 h 70"/>
                <a:gd name="T30" fmla="*/ 17 w 35"/>
                <a:gd name="T31" fmla="*/ 16 h 70"/>
                <a:gd name="T32" fmla="*/ 10 w 35"/>
                <a:gd name="T33" fmla="*/ 22 h 70"/>
                <a:gd name="T34" fmla="*/ 18 w 35"/>
                <a:gd name="T35" fmla="*/ 29 h 70"/>
                <a:gd name="T36" fmla="*/ 29 w 35"/>
                <a:gd name="T37" fmla="*/ 33 h 70"/>
                <a:gd name="T38" fmla="*/ 35 w 35"/>
                <a:gd name="T39" fmla="*/ 46 h 70"/>
                <a:gd name="T40" fmla="*/ 21 w 35"/>
                <a:gd name="T41" fmla="*/ 62 h 70"/>
                <a:gd name="T42" fmla="*/ 21 w 35"/>
                <a:gd name="T43" fmla="*/ 70 h 70"/>
                <a:gd name="T44" fmla="*/ 13 w 35"/>
                <a:gd name="T45" fmla="*/ 70 h 70"/>
                <a:gd name="T46" fmla="*/ 13 w 35"/>
                <a:gd name="T47" fmla="*/ 61 h 70"/>
                <a:gd name="T48" fmla="*/ 13 w 35"/>
                <a:gd name="T49" fmla="*/ 61 h 70"/>
                <a:gd name="T50" fmla="*/ 8 w 35"/>
                <a:gd name="T51" fmla="*/ 58 h 70"/>
                <a:gd name="T52" fmla="*/ 8 w 35"/>
                <a:gd name="T53" fmla="*/ 61 h 70"/>
                <a:gd name="T54" fmla="*/ 1 w 35"/>
                <a:gd name="T55" fmla="*/ 61 h 70"/>
                <a:gd name="T56" fmla="*/ 1 w 35"/>
                <a:gd name="T57" fmla="*/ 45 h 70"/>
                <a:gd name="T58" fmla="*/ 10 w 35"/>
                <a:gd name="T59"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70">
                  <a:moveTo>
                    <a:pt x="10" y="45"/>
                  </a:moveTo>
                  <a:cubicBezTo>
                    <a:pt x="10" y="50"/>
                    <a:pt x="13" y="53"/>
                    <a:pt x="18" y="53"/>
                  </a:cubicBezTo>
                  <a:cubicBezTo>
                    <a:pt x="22" y="53"/>
                    <a:pt x="25" y="51"/>
                    <a:pt x="25" y="46"/>
                  </a:cubicBezTo>
                  <a:cubicBezTo>
                    <a:pt x="25" y="41"/>
                    <a:pt x="21" y="40"/>
                    <a:pt x="17" y="38"/>
                  </a:cubicBezTo>
                  <a:cubicBezTo>
                    <a:pt x="14" y="37"/>
                    <a:pt x="9" y="36"/>
                    <a:pt x="6" y="34"/>
                  </a:cubicBezTo>
                  <a:cubicBezTo>
                    <a:pt x="2" y="31"/>
                    <a:pt x="0" y="27"/>
                    <a:pt x="0" y="22"/>
                  </a:cubicBezTo>
                  <a:cubicBezTo>
                    <a:pt x="0" y="15"/>
                    <a:pt x="6" y="8"/>
                    <a:pt x="13" y="7"/>
                  </a:cubicBezTo>
                  <a:cubicBezTo>
                    <a:pt x="13" y="0"/>
                    <a:pt x="13" y="0"/>
                    <a:pt x="13" y="0"/>
                  </a:cubicBezTo>
                  <a:cubicBezTo>
                    <a:pt x="21" y="0"/>
                    <a:pt x="21" y="0"/>
                    <a:pt x="21" y="0"/>
                  </a:cubicBezTo>
                  <a:cubicBezTo>
                    <a:pt x="21" y="8"/>
                    <a:pt x="21" y="8"/>
                    <a:pt x="21" y="8"/>
                  </a:cubicBezTo>
                  <a:cubicBezTo>
                    <a:pt x="23" y="8"/>
                    <a:pt x="24" y="9"/>
                    <a:pt x="26" y="11"/>
                  </a:cubicBezTo>
                  <a:cubicBezTo>
                    <a:pt x="26" y="8"/>
                    <a:pt x="26" y="8"/>
                    <a:pt x="26" y="8"/>
                  </a:cubicBezTo>
                  <a:cubicBezTo>
                    <a:pt x="32" y="8"/>
                    <a:pt x="32" y="8"/>
                    <a:pt x="32" y="8"/>
                  </a:cubicBezTo>
                  <a:cubicBezTo>
                    <a:pt x="32" y="22"/>
                    <a:pt x="32" y="22"/>
                    <a:pt x="32" y="22"/>
                  </a:cubicBezTo>
                  <a:cubicBezTo>
                    <a:pt x="24" y="22"/>
                    <a:pt x="24" y="22"/>
                    <a:pt x="24" y="22"/>
                  </a:cubicBezTo>
                  <a:cubicBezTo>
                    <a:pt x="24" y="18"/>
                    <a:pt x="21" y="16"/>
                    <a:pt x="17" y="16"/>
                  </a:cubicBezTo>
                  <a:cubicBezTo>
                    <a:pt x="13" y="16"/>
                    <a:pt x="10" y="18"/>
                    <a:pt x="10" y="22"/>
                  </a:cubicBezTo>
                  <a:cubicBezTo>
                    <a:pt x="10" y="26"/>
                    <a:pt x="14" y="28"/>
                    <a:pt x="18" y="29"/>
                  </a:cubicBezTo>
                  <a:cubicBezTo>
                    <a:pt x="21" y="30"/>
                    <a:pt x="26" y="31"/>
                    <a:pt x="29" y="33"/>
                  </a:cubicBezTo>
                  <a:cubicBezTo>
                    <a:pt x="33" y="36"/>
                    <a:pt x="35" y="41"/>
                    <a:pt x="35" y="46"/>
                  </a:cubicBezTo>
                  <a:cubicBezTo>
                    <a:pt x="35" y="54"/>
                    <a:pt x="29" y="61"/>
                    <a:pt x="21" y="62"/>
                  </a:cubicBezTo>
                  <a:cubicBezTo>
                    <a:pt x="21" y="70"/>
                    <a:pt x="21" y="70"/>
                    <a:pt x="21" y="70"/>
                  </a:cubicBezTo>
                  <a:cubicBezTo>
                    <a:pt x="13" y="70"/>
                    <a:pt x="13" y="70"/>
                    <a:pt x="13" y="70"/>
                  </a:cubicBezTo>
                  <a:cubicBezTo>
                    <a:pt x="13" y="61"/>
                    <a:pt x="13" y="61"/>
                    <a:pt x="13" y="61"/>
                  </a:cubicBezTo>
                  <a:cubicBezTo>
                    <a:pt x="13" y="61"/>
                    <a:pt x="13" y="61"/>
                    <a:pt x="13" y="61"/>
                  </a:cubicBezTo>
                  <a:cubicBezTo>
                    <a:pt x="11" y="60"/>
                    <a:pt x="10" y="59"/>
                    <a:pt x="8" y="58"/>
                  </a:cubicBezTo>
                  <a:cubicBezTo>
                    <a:pt x="8" y="61"/>
                    <a:pt x="8" y="61"/>
                    <a:pt x="8" y="61"/>
                  </a:cubicBezTo>
                  <a:cubicBezTo>
                    <a:pt x="1" y="61"/>
                    <a:pt x="1" y="61"/>
                    <a:pt x="1" y="61"/>
                  </a:cubicBezTo>
                  <a:cubicBezTo>
                    <a:pt x="1" y="45"/>
                    <a:pt x="1" y="45"/>
                    <a:pt x="1" y="45"/>
                  </a:cubicBezTo>
                  <a:lnTo>
                    <a:pt x="10" y="4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4" name="Rectangle 236"/>
            <p:cNvSpPr>
              <a:spLocks noChangeArrowheads="1"/>
            </p:cNvSpPr>
            <p:nvPr/>
          </p:nvSpPr>
          <p:spPr bwMode="auto">
            <a:xfrm>
              <a:off x="6099176" y="3559176"/>
              <a:ext cx="1524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5" name="Freeform 237"/>
            <p:cNvSpPr>
              <a:spLocks noEditPoints="1"/>
            </p:cNvSpPr>
            <p:nvPr/>
          </p:nvSpPr>
          <p:spPr bwMode="auto">
            <a:xfrm>
              <a:off x="6019801" y="3159126"/>
              <a:ext cx="315913" cy="381000"/>
            </a:xfrm>
            <a:custGeom>
              <a:avLst/>
              <a:gdLst>
                <a:gd name="T0" fmla="*/ 83 w 83"/>
                <a:gd name="T1" fmla="*/ 41 h 100"/>
                <a:gd name="T2" fmla="*/ 41 w 83"/>
                <a:gd name="T3" fmla="*/ 0 h 100"/>
                <a:gd name="T4" fmla="*/ 0 w 83"/>
                <a:gd name="T5" fmla="*/ 41 h 100"/>
                <a:gd name="T6" fmla="*/ 0 w 83"/>
                <a:gd name="T7" fmla="*/ 45 h 100"/>
                <a:gd name="T8" fmla="*/ 16 w 83"/>
                <a:gd name="T9" fmla="*/ 82 h 100"/>
                <a:gd name="T10" fmla="*/ 19 w 83"/>
                <a:gd name="T11" fmla="*/ 100 h 100"/>
                <a:gd name="T12" fmla="*/ 38 w 83"/>
                <a:gd name="T13" fmla="*/ 100 h 100"/>
                <a:gd name="T14" fmla="*/ 44 w 83"/>
                <a:gd name="T15" fmla="*/ 100 h 100"/>
                <a:gd name="T16" fmla="*/ 63 w 83"/>
                <a:gd name="T17" fmla="*/ 100 h 100"/>
                <a:gd name="T18" fmla="*/ 66 w 83"/>
                <a:gd name="T19" fmla="*/ 82 h 100"/>
                <a:gd name="T20" fmla="*/ 82 w 83"/>
                <a:gd name="T21" fmla="*/ 45 h 100"/>
                <a:gd name="T22" fmla="*/ 83 w 83"/>
                <a:gd name="T23" fmla="*/ 41 h 100"/>
                <a:gd name="T24" fmla="*/ 75 w 83"/>
                <a:gd name="T25" fmla="*/ 43 h 100"/>
                <a:gd name="T26" fmla="*/ 75 w 83"/>
                <a:gd name="T27" fmla="*/ 48 h 100"/>
                <a:gd name="T28" fmla="*/ 75 w 83"/>
                <a:gd name="T29" fmla="*/ 48 h 100"/>
                <a:gd name="T30" fmla="*/ 60 w 83"/>
                <a:gd name="T31" fmla="*/ 77 h 100"/>
                <a:gd name="T32" fmla="*/ 56 w 83"/>
                <a:gd name="T33" fmla="*/ 93 h 100"/>
                <a:gd name="T34" fmla="*/ 27 w 83"/>
                <a:gd name="T35" fmla="*/ 93 h 100"/>
                <a:gd name="T36" fmla="*/ 22 w 83"/>
                <a:gd name="T37" fmla="*/ 78 h 100"/>
                <a:gd name="T38" fmla="*/ 7 w 83"/>
                <a:gd name="T39" fmla="*/ 48 h 100"/>
                <a:gd name="T40" fmla="*/ 8 w 83"/>
                <a:gd name="T41" fmla="*/ 48 h 100"/>
                <a:gd name="T42" fmla="*/ 7 w 83"/>
                <a:gd name="T43" fmla="*/ 43 h 100"/>
                <a:gd name="T44" fmla="*/ 7 w 83"/>
                <a:gd name="T45" fmla="*/ 41 h 100"/>
                <a:gd name="T46" fmla="*/ 41 w 83"/>
                <a:gd name="T47" fmla="*/ 7 h 100"/>
                <a:gd name="T48" fmla="*/ 75 w 83"/>
                <a:gd name="T49" fmla="*/ 41 h 100"/>
                <a:gd name="T50" fmla="*/ 75 w 83"/>
                <a:gd name="T51" fmla="*/ 4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100">
                  <a:moveTo>
                    <a:pt x="83" y="41"/>
                  </a:moveTo>
                  <a:cubicBezTo>
                    <a:pt x="83" y="18"/>
                    <a:pt x="64" y="0"/>
                    <a:pt x="41" y="0"/>
                  </a:cubicBezTo>
                  <a:cubicBezTo>
                    <a:pt x="18" y="0"/>
                    <a:pt x="0" y="18"/>
                    <a:pt x="0" y="41"/>
                  </a:cubicBezTo>
                  <a:cubicBezTo>
                    <a:pt x="0" y="43"/>
                    <a:pt x="0" y="44"/>
                    <a:pt x="0" y="45"/>
                  </a:cubicBezTo>
                  <a:cubicBezTo>
                    <a:pt x="0" y="46"/>
                    <a:pt x="1" y="62"/>
                    <a:pt x="16" y="82"/>
                  </a:cubicBezTo>
                  <a:cubicBezTo>
                    <a:pt x="21" y="88"/>
                    <a:pt x="19" y="100"/>
                    <a:pt x="19" y="100"/>
                  </a:cubicBezTo>
                  <a:cubicBezTo>
                    <a:pt x="25" y="100"/>
                    <a:pt x="32" y="100"/>
                    <a:pt x="38" y="100"/>
                  </a:cubicBezTo>
                  <a:cubicBezTo>
                    <a:pt x="40" y="100"/>
                    <a:pt x="42" y="100"/>
                    <a:pt x="44" y="100"/>
                  </a:cubicBezTo>
                  <a:cubicBezTo>
                    <a:pt x="51" y="100"/>
                    <a:pt x="57" y="100"/>
                    <a:pt x="63" y="100"/>
                  </a:cubicBezTo>
                  <a:cubicBezTo>
                    <a:pt x="63" y="100"/>
                    <a:pt x="61" y="88"/>
                    <a:pt x="66" y="82"/>
                  </a:cubicBezTo>
                  <a:cubicBezTo>
                    <a:pt x="82" y="62"/>
                    <a:pt x="83" y="46"/>
                    <a:pt x="82" y="45"/>
                  </a:cubicBezTo>
                  <a:cubicBezTo>
                    <a:pt x="82" y="44"/>
                    <a:pt x="83" y="43"/>
                    <a:pt x="83" y="41"/>
                  </a:cubicBezTo>
                  <a:close/>
                  <a:moveTo>
                    <a:pt x="75" y="43"/>
                  </a:moveTo>
                  <a:cubicBezTo>
                    <a:pt x="75" y="48"/>
                    <a:pt x="75" y="48"/>
                    <a:pt x="75" y="48"/>
                  </a:cubicBezTo>
                  <a:cubicBezTo>
                    <a:pt x="75" y="48"/>
                    <a:pt x="75" y="48"/>
                    <a:pt x="75" y="48"/>
                  </a:cubicBezTo>
                  <a:cubicBezTo>
                    <a:pt x="74" y="52"/>
                    <a:pt x="71" y="63"/>
                    <a:pt x="60" y="77"/>
                  </a:cubicBezTo>
                  <a:cubicBezTo>
                    <a:pt x="57" y="82"/>
                    <a:pt x="56" y="88"/>
                    <a:pt x="56" y="93"/>
                  </a:cubicBezTo>
                  <a:cubicBezTo>
                    <a:pt x="27" y="93"/>
                    <a:pt x="27" y="93"/>
                    <a:pt x="27" y="93"/>
                  </a:cubicBezTo>
                  <a:cubicBezTo>
                    <a:pt x="26" y="88"/>
                    <a:pt x="25" y="82"/>
                    <a:pt x="22" y="78"/>
                  </a:cubicBezTo>
                  <a:cubicBezTo>
                    <a:pt x="11" y="63"/>
                    <a:pt x="8" y="52"/>
                    <a:pt x="7" y="48"/>
                  </a:cubicBezTo>
                  <a:cubicBezTo>
                    <a:pt x="8" y="48"/>
                    <a:pt x="8" y="48"/>
                    <a:pt x="8" y="48"/>
                  </a:cubicBezTo>
                  <a:cubicBezTo>
                    <a:pt x="7" y="43"/>
                    <a:pt x="7" y="43"/>
                    <a:pt x="7" y="43"/>
                  </a:cubicBezTo>
                  <a:cubicBezTo>
                    <a:pt x="7" y="42"/>
                    <a:pt x="7" y="42"/>
                    <a:pt x="7" y="41"/>
                  </a:cubicBezTo>
                  <a:cubicBezTo>
                    <a:pt x="7" y="22"/>
                    <a:pt x="22" y="7"/>
                    <a:pt x="41" y="7"/>
                  </a:cubicBezTo>
                  <a:cubicBezTo>
                    <a:pt x="60" y="7"/>
                    <a:pt x="75" y="22"/>
                    <a:pt x="75" y="41"/>
                  </a:cubicBezTo>
                  <a:cubicBezTo>
                    <a:pt x="75" y="42"/>
                    <a:pt x="75" y="42"/>
                    <a:pt x="75"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6" name="Freeform 238"/>
            <p:cNvSpPr/>
            <p:nvPr/>
          </p:nvSpPr>
          <p:spPr bwMode="auto">
            <a:xfrm>
              <a:off x="6126163" y="3616326"/>
              <a:ext cx="98425" cy="30163"/>
            </a:xfrm>
            <a:custGeom>
              <a:avLst/>
              <a:gdLst>
                <a:gd name="T0" fmla="*/ 0 w 26"/>
                <a:gd name="T1" fmla="*/ 0 h 8"/>
                <a:gd name="T2" fmla="*/ 0 w 26"/>
                <a:gd name="T3" fmla="*/ 2 h 8"/>
                <a:gd name="T4" fmla="*/ 6 w 26"/>
                <a:gd name="T5" fmla="*/ 8 h 8"/>
                <a:gd name="T6" fmla="*/ 20 w 26"/>
                <a:gd name="T7" fmla="*/ 8 h 8"/>
                <a:gd name="T8" fmla="*/ 26 w 26"/>
                <a:gd name="T9" fmla="*/ 2 h 8"/>
                <a:gd name="T10" fmla="*/ 26 w 26"/>
                <a:gd name="T11" fmla="*/ 0 h 8"/>
                <a:gd name="T12" fmla="*/ 0 w 2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0" y="0"/>
                  </a:moveTo>
                  <a:cubicBezTo>
                    <a:pt x="0" y="2"/>
                    <a:pt x="0" y="2"/>
                    <a:pt x="0" y="2"/>
                  </a:cubicBezTo>
                  <a:cubicBezTo>
                    <a:pt x="0" y="6"/>
                    <a:pt x="3" y="8"/>
                    <a:pt x="6" y="8"/>
                  </a:cubicBezTo>
                  <a:cubicBezTo>
                    <a:pt x="20" y="8"/>
                    <a:pt x="20" y="8"/>
                    <a:pt x="20" y="8"/>
                  </a:cubicBezTo>
                  <a:cubicBezTo>
                    <a:pt x="23" y="8"/>
                    <a:pt x="26" y="6"/>
                    <a:pt x="26" y="2"/>
                  </a:cubicBezTo>
                  <a:cubicBezTo>
                    <a:pt x="26" y="0"/>
                    <a:pt x="26" y="0"/>
                    <a:pt x="26"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7" name="Rectangle 239"/>
            <p:cNvSpPr>
              <a:spLocks noChangeArrowheads="1"/>
            </p:cNvSpPr>
            <p:nvPr/>
          </p:nvSpPr>
          <p:spPr bwMode="auto">
            <a:xfrm>
              <a:off x="6092826" y="3554413"/>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8" name="Rectangle 240"/>
            <p:cNvSpPr>
              <a:spLocks noChangeArrowheads="1"/>
            </p:cNvSpPr>
            <p:nvPr/>
          </p:nvSpPr>
          <p:spPr bwMode="auto">
            <a:xfrm>
              <a:off x="6092826" y="3578226"/>
              <a:ext cx="166688"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9" name="Freeform 241"/>
            <p:cNvSpPr/>
            <p:nvPr/>
          </p:nvSpPr>
          <p:spPr bwMode="auto">
            <a:xfrm>
              <a:off x="6092826" y="3605213"/>
              <a:ext cx="166688" cy="30163"/>
            </a:xfrm>
            <a:custGeom>
              <a:avLst/>
              <a:gdLst>
                <a:gd name="T0" fmla="*/ 0 w 44"/>
                <a:gd name="T1" fmla="*/ 0 h 8"/>
                <a:gd name="T2" fmla="*/ 11 w 44"/>
                <a:gd name="T3" fmla="*/ 8 h 8"/>
                <a:gd name="T4" fmla="*/ 34 w 44"/>
                <a:gd name="T5" fmla="*/ 8 h 8"/>
                <a:gd name="T6" fmla="*/ 44 w 44"/>
                <a:gd name="T7" fmla="*/ 0 h 8"/>
                <a:gd name="T8" fmla="*/ 0 w 44"/>
                <a:gd name="T9" fmla="*/ 0 h 8"/>
              </a:gdLst>
              <a:ahLst/>
              <a:cxnLst>
                <a:cxn ang="0">
                  <a:pos x="T0" y="T1"/>
                </a:cxn>
                <a:cxn ang="0">
                  <a:pos x="T2" y="T3"/>
                </a:cxn>
                <a:cxn ang="0">
                  <a:pos x="T4" y="T5"/>
                </a:cxn>
                <a:cxn ang="0">
                  <a:pos x="T6" y="T7"/>
                </a:cxn>
                <a:cxn ang="0">
                  <a:pos x="T8" y="T9"/>
                </a:cxn>
              </a:cxnLst>
              <a:rect l="0" t="0" r="r" b="b"/>
              <a:pathLst>
                <a:path w="44" h="8">
                  <a:moveTo>
                    <a:pt x="0" y="0"/>
                  </a:moveTo>
                  <a:cubicBezTo>
                    <a:pt x="1" y="4"/>
                    <a:pt x="5" y="8"/>
                    <a:pt x="11" y="8"/>
                  </a:cubicBezTo>
                  <a:cubicBezTo>
                    <a:pt x="34" y="8"/>
                    <a:pt x="34" y="8"/>
                    <a:pt x="34" y="8"/>
                  </a:cubicBezTo>
                  <a:cubicBezTo>
                    <a:pt x="39" y="8"/>
                    <a:pt x="44" y="4"/>
                    <a:pt x="44"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0" name="Freeform 242"/>
            <p:cNvSpPr/>
            <p:nvPr/>
          </p:nvSpPr>
          <p:spPr bwMode="auto">
            <a:xfrm>
              <a:off x="6167438" y="3017838"/>
              <a:ext cx="34925" cy="87313"/>
            </a:xfrm>
            <a:custGeom>
              <a:avLst/>
              <a:gdLst>
                <a:gd name="T0" fmla="*/ 4 w 9"/>
                <a:gd name="T1" fmla="*/ 23 h 23"/>
                <a:gd name="T2" fmla="*/ 0 w 9"/>
                <a:gd name="T3" fmla="*/ 19 h 23"/>
                <a:gd name="T4" fmla="*/ 0 w 9"/>
                <a:gd name="T5" fmla="*/ 5 h 23"/>
                <a:gd name="T6" fmla="*/ 4 w 9"/>
                <a:gd name="T7" fmla="*/ 0 h 23"/>
                <a:gd name="T8" fmla="*/ 9 w 9"/>
                <a:gd name="T9" fmla="*/ 5 h 23"/>
                <a:gd name="T10" fmla="*/ 9 w 9"/>
                <a:gd name="T11" fmla="*/ 19 h 23"/>
                <a:gd name="T12" fmla="*/ 4 w 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 h="23">
                  <a:moveTo>
                    <a:pt x="4" y="23"/>
                  </a:moveTo>
                  <a:cubicBezTo>
                    <a:pt x="2" y="23"/>
                    <a:pt x="0" y="21"/>
                    <a:pt x="0" y="19"/>
                  </a:cubicBezTo>
                  <a:cubicBezTo>
                    <a:pt x="0" y="5"/>
                    <a:pt x="0" y="5"/>
                    <a:pt x="0" y="5"/>
                  </a:cubicBezTo>
                  <a:cubicBezTo>
                    <a:pt x="0" y="2"/>
                    <a:pt x="2" y="0"/>
                    <a:pt x="4" y="0"/>
                  </a:cubicBezTo>
                  <a:cubicBezTo>
                    <a:pt x="7" y="0"/>
                    <a:pt x="9" y="2"/>
                    <a:pt x="9" y="5"/>
                  </a:cubicBezTo>
                  <a:cubicBezTo>
                    <a:pt x="9" y="19"/>
                    <a:pt x="9" y="19"/>
                    <a:pt x="9" y="19"/>
                  </a:cubicBezTo>
                  <a:cubicBezTo>
                    <a:pt x="9" y="21"/>
                    <a:pt x="7" y="23"/>
                    <a:pt x="4"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1" name="Freeform 243"/>
            <p:cNvSpPr/>
            <p:nvPr/>
          </p:nvSpPr>
          <p:spPr bwMode="auto">
            <a:xfrm>
              <a:off x="6027738" y="3048001"/>
              <a:ext cx="65088" cy="84138"/>
            </a:xfrm>
            <a:custGeom>
              <a:avLst/>
              <a:gdLst>
                <a:gd name="T0" fmla="*/ 12 w 17"/>
                <a:gd name="T1" fmla="*/ 22 h 22"/>
                <a:gd name="T2" fmla="*/ 8 w 17"/>
                <a:gd name="T3" fmla="*/ 20 h 22"/>
                <a:gd name="T4" fmla="*/ 1 w 17"/>
                <a:gd name="T5" fmla="*/ 7 h 22"/>
                <a:gd name="T6" fmla="*/ 3 w 17"/>
                <a:gd name="T7" fmla="*/ 1 h 22"/>
                <a:gd name="T8" fmla="*/ 9 w 17"/>
                <a:gd name="T9" fmla="*/ 3 h 22"/>
                <a:gd name="T10" fmla="*/ 16 w 17"/>
                <a:gd name="T11" fmla="*/ 15 h 22"/>
                <a:gd name="T12" fmla="*/ 14 w 17"/>
                <a:gd name="T13" fmla="*/ 21 h 22"/>
                <a:gd name="T14" fmla="*/ 12 w 17"/>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2">
                  <a:moveTo>
                    <a:pt x="12" y="22"/>
                  </a:moveTo>
                  <a:cubicBezTo>
                    <a:pt x="11" y="22"/>
                    <a:pt x="9" y="21"/>
                    <a:pt x="8" y="20"/>
                  </a:cubicBezTo>
                  <a:cubicBezTo>
                    <a:pt x="1" y="7"/>
                    <a:pt x="1" y="7"/>
                    <a:pt x="1" y="7"/>
                  </a:cubicBezTo>
                  <a:cubicBezTo>
                    <a:pt x="0" y="5"/>
                    <a:pt x="1" y="3"/>
                    <a:pt x="3" y="1"/>
                  </a:cubicBezTo>
                  <a:cubicBezTo>
                    <a:pt x="5" y="0"/>
                    <a:pt x="8" y="1"/>
                    <a:pt x="9" y="3"/>
                  </a:cubicBezTo>
                  <a:cubicBezTo>
                    <a:pt x="16" y="15"/>
                    <a:pt x="16" y="15"/>
                    <a:pt x="16" y="15"/>
                  </a:cubicBezTo>
                  <a:cubicBezTo>
                    <a:pt x="17" y="17"/>
                    <a:pt x="16" y="20"/>
                    <a:pt x="14" y="21"/>
                  </a:cubicBezTo>
                  <a:cubicBezTo>
                    <a:pt x="14" y="22"/>
                    <a:pt x="13" y="22"/>
                    <a:pt x="1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2" name="Freeform 244"/>
            <p:cNvSpPr/>
            <p:nvPr/>
          </p:nvSpPr>
          <p:spPr bwMode="auto">
            <a:xfrm>
              <a:off x="5924551" y="3148013"/>
              <a:ext cx="84138" cy="60325"/>
            </a:xfrm>
            <a:custGeom>
              <a:avLst/>
              <a:gdLst>
                <a:gd name="T0" fmla="*/ 17 w 22"/>
                <a:gd name="T1" fmla="*/ 16 h 16"/>
                <a:gd name="T2" fmla="*/ 15 w 22"/>
                <a:gd name="T3" fmla="*/ 16 h 16"/>
                <a:gd name="T4" fmla="*/ 3 w 22"/>
                <a:gd name="T5" fmla="*/ 9 h 16"/>
                <a:gd name="T6" fmla="*/ 1 w 22"/>
                <a:gd name="T7" fmla="*/ 3 h 16"/>
                <a:gd name="T8" fmla="*/ 7 w 22"/>
                <a:gd name="T9" fmla="*/ 1 h 16"/>
                <a:gd name="T10" fmla="*/ 19 w 22"/>
                <a:gd name="T11" fmla="*/ 8 h 16"/>
                <a:gd name="T12" fmla="*/ 21 w 22"/>
                <a:gd name="T13" fmla="*/ 14 h 16"/>
                <a:gd name="T14" fmla="*/ 17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7" y="16"/>
                  </a:moveTo>
                  <a:cubicBezTo>
                    <a:pt x="16" y="16"/>
                    <a:pt x="15" y="16"/>
                    <a:pt x="15" y="16"/>
                  </a:cubicBezTo>
                  <a:cubicBezTo>
                    <a:pt x="3" y="9"/>
                    <a:pt x="3" y="9"/>
                    <a:pt x="3" y="9"/>
                  </a:cubicBezTo>
                  <a:cubicBezTo>
                    <a:pt x="0" y="7"/>
                    <a:pt x="0" y="5"/>
                    <a:pt x="1" y="3"/>
                  </a:cubicBezTo>
                  <a:cubicBezTo>
                    <a:pt x="2" y="0"/>
                    <a:pt x="5" y="0"/>
                    <a:pt x="7" y="1"/>
                  </a:cubicBezTo>
                  <a:cubicBezTo>
                    <a:pt x="19" y="8"/>
                    <a:pt x="19" y="8"/>
                    <a:pt x="19" y="8"/>
                  </a:cubicBezTo>
                  <a:cubicBezTo>
                    <a:pt x="21" y="9"/>
                    <a:pt x="22" y="12"/>
                    <a:pt x="21" y="14"/>
                  </a:cubicBezTo>
                  <a:cubicBezTo>
                    <a:pt x="20" y="15"/>
                    <a:pt x="19" y="16"/>
                    <a:pt x="17"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3" name="Freeform 245"/>
            <p:cNvSpPr/>
            <p:nvPr/>
          </p:nvSpPr>
          <p:spPr bwMode="auto">
            <a:xfrm>
              <a:off x="5886451" y="3284538"/>
              <a:ext cx="84138" cy="34925"/>
            </a:xfrm>
            <a:custGeom>
              <a:avLst/>
              <a:gdLst>
                <a:gd name="T0" fmla="*/ 18 w 22"/>
                <a:gd name="T1" fmla="*/ 9 h 9"/>
                <a:gd name="T2" fmla="*/ 4 w 22"/>
                <a:gd name="T3" fmla="*/ 9 h 9"/>
                <a:gd name="T4" fmla="*/ 0 w 22"/>
                <a:gd name="T5" fmla="*/ 5 h 9"/>
                <a:gd name="T6" fmla="*/ 4 w 22"/>
                <a:gd name="T7" fmla="*/ 0 h 9"/>
                <a:gd name="T8" fmla="*/ 18 w 22"/>
                <a:gd name="T9" fmla="*/ 0 h 9"/>
                <a:gd name="T10" fmla="*/ 22 w 22"/>
                <a:gd name="T11" fmla="*/ 5 h 9"/>
                <a:gd name="T12" fmla="*/ 18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8" y="9"/>
                  </a:moveTo>
                  <a:cubicBezTo>
                    <a:pt x="4" y="9"/>
                    <a:pt x="4" y="9"/>
                    <a:pt x="4" y="9"/>
                  </a:cubicBezTo>
                  <a:cubicBezTo>
                    <a:pt x="2" y="9"/>
                    <a:pt x="0" y="7"/>
                    <a:pt x="0" y="5"/>
                  </a:cubicBezTo>
                  <a:cubicBezTo>
                    <a:pt x="0" y="2"/>
                    <a:pt x="2" y="0"/>
                    <a:pt x="4" y="0"/>
                  </a:cubicBezTo>
                  <a:cubicBezTo>
                    <a:pt x="18" y="0"/>
                    <a:pt x="18" y="0"/>
                    <a:pt x="18" y="0"/>
                  </a:cubicBezTo>
                  <a:cubicBezTo>
                    <a:pt x="21" y="0"/>
                    <a:pt x="22" y="2"/>
                    <a:pt x="22" y="5"/>
                  </a:cubicBezTo>
                  <a:cubicBezTo>
                    <a:pt x="22" y="7"/>
                    <a:pt x="21" y="9"/>
                    <a:pt x="18"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4" name="Freeform 246"/>
            <p:cNvSpPr/>
            <p:nvPr/>
          </p:nvSpPr>
          <p:spPr bwMode="auto">
            <a:xfrm>
              <a:off x="6343651" y="3409951"/>
              <a:ext cx="87313" cy="61913"/>
            </a:xfrm>
            <a:custGeom>
              <a:avLst/>
              <a:gdLst>
                <a:gd name="T0" fmla="*/ 18 w 23"/>
                <a:gd name="T1" fmla="*/ 16 h 16"/>
                <a:gd name="T2" fmla="*/ 15 w 23"/>
                <a:gd name="T3" fmla="*/ 16 h 16"/>
                <a:gd name="T4" fmla="*/ 3 w 23"/>
                <a:gd name="T5" fmla="*/ 9 h 16"/>
                <a:gd name="T6" fmla="*/ 2 w 23"/>
                <a:gd name="T7" fmla="*/ 3 h 16"/>
                <a:gd name="T8" fmla="*/ 8 w 23"/>
                <a:gd name="T9" fmla="*/ 1 h 16"/>
                <a:gd name="T10" fmla="*/ 20 w 23"/>
                <a:gd name="T11" fmla="*/ 8 h 16"/>
                <a:gd name="T12" fmla="*/ 21 w 23"/>
                <a:gd name="T13" fmla="*/ 14 h 16"/>
                <a:gd name="T14" fmla="*/ 18 w 23"/>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6">
                  <a:moveTo>
                    <a:pt x="18" y="16"/>
                  </a:moveTo>
                  <a:cubicBezTo>
                    <a:pt x="17" y="16"/>
                    <a:pt x="16" y="16"/>
                    <a:pt x="15" y="16"/>
                  </a:cubicBezTo>
                  <a:cubicBezTo>
                    <a:pt x="3" y="9"/>
                    <a:pt x="3" y="9"/>
                    <a:pt x="3" y="9"/>
                  </a:cubicBezTo>
                  <a:cubicBezTo>
                    <a:pt x="1" y="7"/>
                    <a:pt x="0" y="5"/>
                    <a:pt x="2" y="3"/>
                  </a:cubicBezTo>
                  <a:cubicBezTo>
                    <a:pt x="3" y="1"/>
                    <a:pt x="5" y="0"/>
                    <a:pt x="8" y="1"/>
                  </a:cubicBezTo>
                  <a:cubicBezTo>
                    <a:pt x="20" y="8"/>
                    <a:pt x="20" y="8"/>
                    <a:pt x="20" y="8"/>
                  </a:cubicBezTo>
                  <a:cubicBezTo>
                    <a:pt x="22" y="9"/>
                    <a:pt x="23" y="12"/>
                    <a:pt x="21" y="14"/>
                  </a:cubicBezTo>
                  <a:cubicBezTo>
                    <a:pt x="21" y="15"/>
                    <a:pt x="19" y="16"/>
                    <a:pt x="18"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5" name="Freeform 247"/>
            <p:cNvSpPr/>
            <p:nvPr/>
          </p:nvSpPr>
          <p:spPr bwMode="auto">
            <a:xfrm>
              <a:off x="6380163" y="3303588"/>
              <a:ext cx="88900" cy="30163"/>
            </a:xfrm>
            <a:custGeom>
              <a:avLst/>
              <a:gdLst>
                <a:gd name="T0" fmla="*/ 18 w 23"/>
                <a:gd name="T1" fmla="*/ 8 h 8"/>
                <a:gd name="T2" fmla="*/ 4 w 23"/>
                <a:gd name="T3" fmla="*/ 8 h 8"/>
                <a:gd name="T4" fmla="*/ 0 w 23"/>
                <a:gd name="T5" fmla="*/ 4 h 8"/>
                <a:gd name="T6" fmla="*/ 4 w 23"/>
                <a:gd name="T7" fmla="*/ 0 h 8"/>
                <a:gd name="T8" fmla="*/ 18 w 23"/>
                <a:gd name="T9" fmla="*/ 0 h 8"/>
                <a:gd name="T10" fmla="*/ 23 w 23"/>
                <a:gd name="T11" fmla="*/ 4 h 8"/>
                <a:gd name="T12" fmla="*/ 18 w 2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3" h="8">
                  <a:moveTo>
                    <a:pt x="18" y="8"/>
                  </a:moveTo>
                  <a:cubicBezTo>
                    <a:pt x="4" y="8"/>
                    <a:pt x="4" y="8"/>
                    <a:pt x="4" y="8"/>
                  </a:cubicBezTo>
                  <a:cubicBezTo>
                    <a:pt x="2" y="8"/>
                    <a:pt x="0" y="7"/>
                    <a:pt x="0" y="4"/>
                  </a:cubicBezTo>
                  <a:cubicBezTo>
                    <a:pt x="0" y="2"/>
                    <a:pt x="2" y="0"/>
                    <a:pt x="4" y="0"/>
                  </a:cubicBezTo>
                  <a:cubicBezTo>
                    <a:pt x="18" y="0"/>
                    <a:pt x="18" y="0"/>
                    <a:pt x="18" y="0"/>
                  </a:cubicBezTo>
                  <a:cubicBezTo>
                    <a:pt x="21" y="0"/>
                    <a:pt x="23" y="2"/>
                    <a:pt x="23" y="4"/>
                  </a:cubicBezTo>
                  <a:cubicBezTo>
                    <a:pt x="23" y="7"/>
                    <a:pt x="21" y="8"/>
                    <a:pt x="18"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6" name="Freeform 248"/>
            <p:cNvSpPr/>
            <p:nvPr/>
          </p:nvSpPr>
          <p:spPr bwMode="auto">
            <a:xfrm>
              <a:off x="6354763" y="3162301"/>
              <a:ext cx="82550" cy="61913"/>
            </a:xfrm>
            <a:custGeom>
              <a:avLst/>
              <a:gdLst>
                <a:gd name="T0" fmla="*/ 5 w 22"/>
                <a:gd name="T1" fmla="*/ 16 h 16"/>
                <a:gd name="T2" fmla="*/ 1 w 22"/>
                <a:gd name="T3" fmla="*/ 14 h 16"/>
                <a:gd name="T4" fmla="*/ 2 w 22"/>
                <a:gd name="T5" fmla="*/ 8 h 16"/>
                <a:gd name="T6" fmla="*/ 15 w 22"/>
                <a:gd name="T7" fmla="*/ 1 h 16"/>
                <a:gd name="T8" fmla="*/ 21 w 22"/>
                <a:gd name="T9" fmla="*/ 2 h 16"/>
                <a:gd name="T10" fmla="*/ 19 w 22"/>
                <a:gd name="T11" fmla="*/ 8 h 16"/>
                <a:gd name="T12" fmla="*/ 7 w 22"/>
                <a:gd name="T13" fmla="*/ 16 h 16"/>
                <a:gd name="T14" fmla="*/ 5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5" y="16"/>
                  </a:moveTo>
                  <a:cubicBezTo>
                    <a:pt x="3" y="16"/>
                    <a:pt x="2" y="15"/>
                    <a:pt x="1" y="14"/>
                  </a:cubicBezTo>
                  <a:cubicBezTo>
                    <a:pt x="0" y="12"/>
                    <a:pt x="0" y="9"/>
                    <a:pt x="2" y="8"/>
                  </a:cubicBezTo>
                  <a:cubicBezTo>
                    <a:pt x="15" y="1"/>
                    <a:pt x="15" y="1"/>
                    <a:pt x="15" y="1"/>
                  </a:cubicBezTo>
                  <a:cubicBezTo>
                    <a:pt x="17" y="0"/>
                    <a:pt x="19" y="0"/>
                    <a:pt x="21" y="2"/>
                  </a:cubicBezTo>
                  <a:cubicBezTo>
                    <a:pt x="22" y="5"/>
                    <a:pt x="21" y="7"/>
                    <a:pt x="19" y="8"/>
                  </a:cubicBezTo>
                  <a:cubicBezTo>
                    <a:pt x="7" y="16"/>
                    <a:pt x="7" y="16"/>
                    <a:pt x="7" y="16"/>
                  </a:cubicBezTo>
                  <a:cubicBezTo>
                    <a:pt x="6" y="16"/>
                    <a:pt x="5" y="16"/>
                    <a:pt x="5"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7" name="Freeform 249"/>
            <p:cNvSpPr/>
            <p:nvPr/>
          </p:nvSpPr>
          <p:spPr bwMode="auto">
            <a:xfrm>
              <a:off x="6273801" y="3055938"/>
              <a:ext cx="65088" cy="84138"/>
            </a:xfrm>
            <a:custGeom>
              <a:avLst/>
              <a:gdLst>
                <a:gd name="T0" fmla="*/ 5 w 17"/>
                <a:gd name="T1" fmla="*/ 22 h 22"/>
                <a:gd name="T2" fmla="*/ 3 w 17"/>
                <a:gd name="T3" fmla="*/ 21 h 22"/>
                <a:gd name="T4" fmla="*/ 1 w 17"/>
                <a:gd name="T5" fmla="*/ 15 h 22"/>
                <a:gd name="T6" fmla="*/ 8 w 17"/>
                <a:gd name="T7" fmla="*/ 3 h 22"/>
                <a:gd name="T8" fmla="*/ 14 w 17"/>
                <a:gd name="T9" fmla="*/ 2 h 22"/>
                <a:gd name="T10" fmla="*/ 16 w 17"/>
                <a:gd name="T11" fmla="*/ 8 h 22"/>
                <a:gd name="T12" fmla="*/ 9 w 17"/>
                <a:gd name="T13" fmla="*/ 20 h 22"/>
                <a:gd name="T14" fmla="*/ 5 w 17"/>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2">
                  <a:moveTo>
                    <a:pt x="5" y="22"/>
                  </a:moveTo>
                  <a:cubicBezTo>
                    <a:pt x="4" y="22"/>
                    <a:pt x="4" y="22"/>
                    <a:pt x="3" y="21"/>
                  </a:cubicBezTo>
                  <a:cubicBezTo>
                    <a:pt x="1" y="20"/>
                    <a:pt x="0" y="18"/>
                    <a:pt x="1" y="15"/>
                  </a:cubicBezTo>
                  <a:cubicBezTo>
                    <a:pt x="8" y="3"/>
                    <a:pt x="8" y="3"/>
                    <a:pt x="8" y="3"/>
                  </a:cubicBezTo>
                  <a:cubicBezTo>
                    <a:pt x="10" y="1"/>
                    <a:pt x="12" y="0"/>
                    <a:pt x="14" y="2"/>
                  </a:cubicBezTo>
                  <a:cubicBezTo>
                    <a:pt x="17" y="3"/>
                    <a:pt x="17" y="5"/>
                    <a:pt x="16" y="8"/>
                  </a:cubicBezTo>
                  <a:cubicBezTo>
                    <a:pt x="9" y="20"/>
                    <a:pt x="9" y="20"/>
                    <a:pt x="9" y="20"/>
                  </a:cubicBezTo>
                  <a:cubicBezTo>
                    <a:pt x="8" y="21"/>
                    <a:pt x="7" y="22"/>
                    <a:pt x="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grpSp>
        <p:nvGrpSpPr>
          <p:cNvPr id="38" name="组合 37"/>
          <p:cNvGrpSpPr/>
          <p:nvPr/>
        </p:nvGrpSpPr>
        <p:grpSpPr>
          <a:xfrm>
            <a:off x="1946870" y="2898179"/>
            <a:ext cx="430714" cy="426592"/>
            <a:chOff x="5767388" y="3098800"/>
            <a:chExt cx="663575" cy="657225"/>
          </a:xfrm>
          <a:solidFill>
            <a:srgbClr val="2C53B6"/>
          </a:solidFill>
        </p:grpSpPr>
        <p:sp>
          <p:nvSpPr>
            <p:cNvPr id="39" name="Freeform 253"/>
            <p:cNvSpPr>
              <a:spLocks noEditPoints="1"/>
            </p:cNvSpPr>
            <p:nvPr/>
          </p:nvSpPr>
          <p:spPr bwMode="auto">
            <a:xfrm>
              <a:off x="5767388" y="3098800"/>
              <a:ext cx="663575" cy="519113"/>
            </a:xfrm>
            <a:custGeom>
              <a:avLst/>
              <a:gdLst>
                <a:gd name="T0" fmla="*/ 165 w 174"/>
                <a:gd name="T1" fmla="*/ 0 h 136"/>
                <a:gd name="T2" fmla="*/ 9 w 174"/>
                <a:gd name="T3" fmla="*/ 0 h 136"/>
                <a:gd name="T4" fmla="*/ 0 w 174"/>
                <a:gd name="T5" fmla="*/ 9 h 136"/>
                <a:gd name="T6" fmla="*/ 0 w 174"/>
                <a:gd name="T7" fmla="*/ 128 h 136"/>
                <a:gd name="T8" fmla="*/ 9 w 174"/>
                <a:gd name="T9" fmla="*/ 136 h 136"/>
                <a:gd name="T10" fmla="*/ 50 w 174"/>
                <a:gd name="T11" fmla="*/ 136 h 136"/>
                <a:gd name="T12" fmla="*/ 41 w 174"/>
                <a:gd name="T13" fmla="*/ 121 h 136"/>
                <a:gd name="T14" fmla="*/ 17 w 174"/>
                <a:gd name="T15" fmla="*/ 121 h 136"/>
                <a:gd name="T16" fmla="*/ 17 w 174"/>
                <a:gd name="T17" fmla="*/ 16 h 136"/>
                <a:gd name="T18" fmla="*/ 157 w 174"/>
                <a:gd name="T19" fmla="*/ 16 h 136"/>
                <a:gd name="T20" fmla="*/ 157 w 174"/>
                <a:gd name="T21" fmla="*/ 121 h 136"/>
                <a:gd name="T22" fmla="*/ 133 w 174"/>
                <a:gd name="T23" fmla="*/ 121 h 136"/>
                <a:gd name="T24" fmla="*/ 133 w 174"/>
                <a:gd name="T25" fmla="*/ 127 h 136"/>
                <a:gd name="T26" fmla="*/ 131 w 174"/>
                <a:gd name="T27" fmla="*/ 136 h 136"/>
                <a:gd name="T28" fmla="*/ 165 w 174"/>
                <a:gd name="T29" fmla="*/ 136 h 136"/>
                <a:gd name="T30" fmla="*/ 174 w 174"/>
                <a:gd name="T31" fmla="*/ 128 h 136"/>
                <a:gd name="T32" fmla="*/ 174 w 174"/>
                <a:gd name="T33" fmla="*/ 9 h 136"/>
                <a:gd name="T34" fmla="*/ 165 w 174"/>
                <a:gd name="T35" fmla="*/ 0 h 136"/>
                <a:gd name="T36" fmla="*/ 8 w 174"/>
                <a:gd name="T37" fmla="*/ 74 h 136"/>
                <a:gd name="T38" fmla="*/ 3 w 174"/>
                <a:gd name="T39" fmla="*/ 68 h 136"/>
                <a:gd name="T40" fmla="*/ 8 w 174"/>
                <a:gd name="T41" fmla="*/ 63 h 136"/>
                <a:gd name="T42" fmla="*/ 14 w 174"/>
                <a:gd name="T43" fmla="*/ 68 h 136"/>
                <a:gd name="T44" fmla="*/ 8 w 174"/>
                <a:gd name="T45" fmla="*/ 7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136">
                  <a:moveTo>
                    <a:pt x="165" y="0"/>
                  </a:moveTo>
                  <a:cubicBezTo>
                    <a:pt x="9" y="0"/>
                    <a:pt x="9" y="0"/>
                    <a:pt x="9" y="0"/>
                  </a:cubicBezTo>
                  <a:cubicBezTo>
                    <a:pt x="4" y="0"/>
                    <a:pt x="0" y="4"/>
                    <a:pt x="0" y="9"/>
                  </a:cubicBezTo>
                  <a:cubicBezTo>
                    <a:pt x="0" y="128"/>
                    <a:pt x="0" y="128"/>
                    <a:pt x="0" y="128"/>
                  </a:cubicBezTo>
                  <a:cubicBezTo>
                    <a:pt x="0" y="132"/>
                    <a:pt x="4" y="136"/>
                    <a:pt x="9" y="136"/>
                  </a:cubicBezTo>
                  <a:cubicBezTo>
                    <a:pt x="50" y="136"/>
                    <a:pt x="50" y="136"/>
                    <a:pt x="50" y="136"/>
                  </a:cubicBezTo>
                  <a:cubicBezTo>
                    <a:pt x="46" y="131"/>
                    <a:pt x="43" y="126"/>
                    <a:pt x="41" y="121"/>
                  </a:cubicBezTo>
                  <a:cubicBezTo>
                    <a:pt x="17" y="121"/>
                    <a:pt x="17" y="121"/>
                    <a:pt x="17" y="121"/>
                  </a:cubicBezTo>
                  <a:cubicBezTo>
                    <a:pt x="17" y="16"/>
                    <a:pt x="17" y="16"/>
                    <a:pt x="17" y="16"/>
                  </a:cubicBezTo>
                  <a:cubicBezTo>
                    <a:pt x="157" y="16"/>
                    <a:pt x="157" y="16"/>
                    <a:pt x="157" y="16"/>
                  </a:cubicBezTo>
                  <a:cubicBezTo>
                    <a:pt x="157" y="121"/>
                    <a:pt x="157" y="121"/>
                    <a:pt x="157" y="121"/>
                  </a:cubicBezTo>
                  <a:cubicBezTo>
                    <a:pt x="133" y="121"/>
                    <a:pt x="133" y="121"/>
                    <a:pt x="133" y="121"/>
                  </a:cubicBezTo>
                  <a:cubicBezTo>
                    <a:pt x="133" y="127"/>
                    <a:pt x="133" y="127"/>
                    <a:pt x="133" y="127"/>
                  </a:cubicBezTo>
                  <a:cubicBezTo>
                    <a:pt x="133" y="130"/>
                    <a:pt x="132" y="133"/>
                    <a:pt x="131" y="136"/>
                  </a:cubicBezTo>
                  <a:cubicBezTo>
                    <a:pt x="165" y="136"/>
                    <a:pt x="165" y="136"/>
                    <a:pt x="165" y="136"/>
                  </a:cubicBezTo>
                  <a:cubicBezTo>
                    <a:pt x="170" y="136"/>
                    <a:pt x="174" y="132"/>
                    <a:pt x="174" y="128"/>
                  </a:cubicBezTo>
                  <a:cubicBezTo>
                    <a:pt x="174" y="9"/>
                    <a:pt x="174" y="9"/>
                    <a:pt x="174" y="9"/>
                  </a:cubicBezTo>
                  <a:cubicBezTo>
                    <a:pt x="174" y="4"/>
                    <a:pt x="170" y="0"/>
                    <a:pt x="165" y="0"/>
                  </a:cubicBezTo>
                  <a:close/>
                  <a:moveTo>
                    <a:pt x="8" y="74"/>
                  </a:moveTo>
                  <a:cubicBezTo>
                    <a:pt x="5" y="74"/>
                    <a:pt x="3" y="71"/>
                    <a:pt x="3" y="68"/>
                  </a:cubicBezTo>
                  <a:cubicBezTo>
                    <a:pt x="3" y="65"/>
                    <a:pt x="5" y="63"/>
                    <a:pt x="8" y="63"/>
                  </a:cubicBezTo>
                  <a:cubicBezTo>
                    <a:pt x="11" y="63"/>
                    <a:pt x="14" y="65"/>
                    <a:pt x="14" y="68"/>
                  </a:cubicBezTo>
                  <a:cubicBezTo>
                    <a:pt x="14" y="71"/>
                    <a:pt x="11" y="74"/>
                    <a:pt x="8"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0" name="Freeform 254"/>
            <p:cNvSpPr/>
            <p:nvPr/>
          </p:nvSpPr>
          <p:spPr bwMode="auto">
            <a:xfrm>
              <a:off x="5913438" y="3235325"/>
              <a:ext cx="334963" cy="520700"/>
            </a:xfrm>
            <a:custGeom>
              <a:avLst/>
              <a:gdLst>
                <a:gd name="T0" fmla="*/ 88 w 88"/>
                <a:gd name="T1" fmla="*/ 72 h 136"/>
                <a:gd name="T2" fmla="*/ 88 w 88"/>
                <a:gd name="T3" fmla="*/ 69 h 136"/>
                <a:gd name="T4" fmla="*/ 88 w 88"/>
                <a:gd name="T5" fmla="*/ 47 h 136"/>
                <a:gd name="T6" fmla="*/ 81 w 88"/>
                <a:gd name="T7" fmla="*/ 40 h 136"/>
                <a:gd name="T8" fmla="*/ 73 w 88"/>
                <a:gd name="T9" fmla="*/ 47 h 136"/>
                <a:gd name="T10" fmla="*/ 73 w 88"/>
                <a:gd name="T11" fmla="*/ 49 h 136"/>
                <a:gd name="T12" fmla="*/ 72 w 88"/>
                <a:gd name="T13" fmla="*/ 48 h 136"/>
                <a:gd name="T14" fmla="*/ 72 w 88"/>
                <a:gd name="T15" fmla="*/ 37 h 136"/>
                <a:gd name="T16" fmla="*/ 64 w 88"/>
                <a:gd name="T17" fmla="*/ 30 h 136"/>
                <a:gd name="T18" fmla="*/ 57 w 88"/>
                <a:gd name="T19" fmla="*/ 37 h 136"/>
                <a:gd name="T20" fmla="*/ 57 w 88"/>
                <a:gd name="T21" fmla="*/ 43 h 136"/>
                <a:gd name="T22" fmla="*/ 55 w 88"/>
                <a:gd name="T23" fmla="*/ 43 h 136"/>
                <a:gd name="T24" fmla="*/ 55 w 88"/>
                <a:gd name="T25" fmla="*/ 31 h 136"/>
                <a:gd name="T26" fmla="*/ 48 w 88"/>
                <a:gd name="T27" fmla="*/ 24 h 136"/>
                <a:gd name="T28" fmla="*/ 40 w 88"/>
                <a:gd name="T29" fmla="*/ 31 h 136"/>
                <a:gd name="T30" fmla="*/ 40 w 88"/>
                <a:gd name="T31" fmla="*/ 40 h 136"/>
                <a:gd name="T32" fmla="*/ 38 w 88"/>
                <a:gd name="T33" fmla="*/ 41 h 136"/>
                <a:gd name="T34" fmla="*/ 38 w 88"/>
                <a:gd name="T35" fmla="*/ 7 h 136"/>
                <a:gd name="T36" fmla="*/ 31 w 88"/>
                <a:gd name="T37" fmla="*/ 0 h 136"/>
                <a:gd name="T38" fmla="*/ 24 w 88"/>
                <a:gd name="T39" fmla="*/ 7 h 136"/>
                <a:gd name="T40" fmla="*/ 24 w 88"/>
                <a:gd name="T41" fmla="*/ 67 h 136"/>
                <a:gd name="T42" fmla="*/ 22 w 88"/>
                <a:gd name="T43" fmla="*/ 56 h 136"/>
                <a:gd name="T44" fmla="*/ 8 w 88"/>
                <a:gd name="T45" fmla="*/ 40 h 136"/>
                <a:gd name="T46" fmla="*/ 1 w 88"/>
                <a:gd name="T47" fmla="*/ 46 h 136"/>
                <a:gd name="T48" fmla="*/ 8 w 88"/>
                <a:gd name="T49" fmla="*/ 73 h 136"/>
                <a:gd name="T50" fmla="*/ 20 w 88"/>
                <a:gd name="T51" fmla="*/ 98 h 136"/>
                <a:gd name="T52" fmla="*/ 22 w 88"/>
                <a:gd name="T53" fmla="*/ 101 h 136"/>
                <a:gd name="T54" fmla="*/ 32 w 88"/>
                <a:gd name="T55" fmla="*/ 111 h 136"/>
                <a:gd name="T56" fmla="*/ 32 w 88"/>
                <a:gd name="T57" fmla="*/ 136 h 136"/>
                <a:gd name="T58" fmla="*/ 81 w 88"/>
                <a:gd name="T59" fmla="*/ 136 h 136"/>
                <a:gd name="T60" fmla="*/ 81 w 88"/>
                <a:gd name="T61" fmla="*/ 110 h 136"/>
                <a:gd name="T62" fmla="*/ 87 w 88"/>
                <a:gd name="T63" fmla="*/ 91 h 136"/>
                <a:gd name="T64" fmla="*/ 88 w 88"/>
                <a:gd name="T65" fmla="*/ 72 h 136"/>
                <a:gd name="T66" fmla="*/ 88 w 88"/>
                <a:gd name="T67" fmla="*/ 72 h 136"/>
                <a:gd name="T68" fmla="*/ 88 w 88"/>
                <a:gd name="T6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136">
                  <a:moveTo>
                    <a:pt x="88" y="72"/>
                  </a:moveTo>
                  <a:cubicBezTo>
                    <a:pt x="88" y="71"/>
                    <a:pt x="88" y="70"/>
                    <a:pt x="88" y="69"/>
                  </a:cubicBezTo>
                  <a:cubicBezTo>
                    <a:pt x="88" y="47"/>
                    <a:pt x="88" y="47"/>
                    <a:pt x="88" y="47"/>
                  </a:cubicBezTo>
                  <a:cubicBezTo>
                    <a:pt x="88" y="43"/>
                    <a:pt x="85" y="40"/>
                    <a:pt x="81" y="40"/>
                  </a:cubicBezTo>
                  <a:cubicBezTo>
                    <a:pt x="77" y="40"/>
                    <a:pt x="73" y="43"/>
                    <a:pt x="73" y="47"/>
                  </a:cubicBezTo>
                  <a:cubicBezTo>
                    <a:pt x="73" y="49"/>
                    <a:pt x="73" y="49"/>
                    <a:pt x="73" y="49"/>
                  </a:cubicBezTo>
                  <a:cubicBezTo>
                    <a:pt x="73" y="49"/>
                    <a:pt x="72" y="48"/>
                    <a:pt x="72" y="48"/>
                  </a:cubicBezTo>
                  <a:cubicBezTo>
                    <a:pt x="72" y="37"/>
                    <a:pt x="72" y="37"/>
                    <a:pt x="72" y="37"/>
                  </a:cubicBezTo>
                  <a:cubicBezTo>
                    <a:pt x="72" y="33"/>
                    <a:pt x="68" y="30"/>
                    <a:pt x="64" y="30"/>
                  </a:cubicBezTo>
                  <a:cubicBezTo>
                    <a:pt x="60" y="30"/>
                    <a:pt x="57" y="33"/>
                    <a:pt x="57" y="37"/>
                  </a:cubicBezTo>
                  <a:cubicBezTo>
                    <a:pt x="57" y="43"/>
                    <a:pt x="57" y="43"/>
                    <a:pt x="57" y="43"/>
                  </a:cubicBezTo>
                  <a:cubicBezTo>
                    <a:pt x="56" y="43"/>
                    <a:pt x="56" y="43"/>
                    <a:pt x="55" y="43"/>
                  </a:cubicBezTo>
                  <a:cubicBezTo>
                    <a:pt x="55" y="31"/>
                    <a:pt x="55" y="31"/>
                    <a:pt x="55" y="31"/>
                  </a:cubicBezTo>
                  <a:cubicBezTo>
                    <a:pt x="55" y="27"/>
                    <a:pt x="52" y="24"/>
                    <a:pt x="48" y="24"/>
                  </a:cubicBezTo>
                  <a:cubicBezTo>
                    <a:pt x="44" y="24"/>
                    <a:pt x="40" y="27"/>
                    <a:pt x="40" y="31"/>
                  </a:cubicBezTo>
                  <a:cubicBezTo>
                    <a:pt x="40" y="40"/>
                    <a:pt x="40" y="40"/>
                    <a:pt x="40" y="40"/>
                  </a:cubicBezTo>
                  <a:cubicBezTo>
                    <a:pt x="40" y="40"/>
                    <a:pt x="39" y="40"/>
                    <a:pt x="38" y="41"/>
                  </a:cubicBezTo>
                  <a:cubicBezTo>
                    <a:pt x="38" y="7"/>
                    <a:pt x="38" y="7"/>
                    <a:pt x="38" y="7"/>
                  </a:cubicBezTo>
                  <a:cubicBezTo>
                    <a:pt x="38" y="3"/>
                    <a:pt x="35" y="0"/>
                    <a:pt x="31" y="0"/>
                  </a:cubicBezTo>
                  <a:cubicBezTo>
                    <a:pt x="27" y="0"/>
                    <a:pt x="24" y="3"/>
                    <a:pt x="24" y="7"/>
                  </a:cubicBezTo>
                  <a:cubicBezTo>
                    <a:pt x="24" y="67"/>
                    <a:pt x="24" y="67"/>
                    <a:pt x="24" y="67"/>
                  </a:cubicBezTo>
                  <a:cubicBezTo>
                    <a:pt x="22" y="63"/>
                    <a:pt x="22" y="59"/>
                    <a:pt x="22" y="56"/>
                  </a:cubicBezTo>
                  <a:cubicBezTo>
                    <a:pt x="19" y="44"/>
                    <a:pt x="12" y="39"/>
                    <a:pt x="8" y="40"/>
                  </a:cubicBezTo>
                  <a:cubicBezTo>
                    <a:pt x="7" y="40"/>
                    <a:pt x="0" y="43"/>
                    <a:pt x="1" y="46"/>
                  </a:cubicBezTo>
                  <a:cubicBezTo>
                    <a:pt x="2" y="48"/>
                    <a:pt x="7" y="60"/>
                    <a:pt x="8" y="73"/>
                  </a:cubicBezTo>
                  <a:cubicBezTo>
                    <a:pt x="8" y="82"/>
                    <a:pt x="14" y="91"/>
                    <a:pt x="20" y="98"/>
                  </a:cubicBezTo>
                  <a:cubicBezTo>
                    <a:pt x="20" y="99"/>
                    <a:pt x="21" y="100"/>
                    <a:pt x="22" y="101"/>
                  </a:cubicBezTo>
                  <a:cubicBezTo>
                    <a:pt x="32" y="111"/>
                    <a:pt x="32" y="111"/>
                    <a:pt x="32" y="111"/>
                  </a:cubicBezTo>
                  <a:cubicBezTo>
                    <a:pt x="32" y="136"/>
                    <a:pt x="32" y="136"/>
                    <a:pt x="32" y="136"/>
                  </a:cubicBezTo>
                  <a:cubicBezTo>
                    <a:pt x="81" y="136"/>
                    <a:pt x="81" y="136"/>
                    <a:pt x="81" y="136"/>
                  </a:cubicBezTo>
                  <a:cubicBezTo>
                    <a:pt x="81" y="110"/>
                    <a:pt x="81" y="110"/>
                    <a:pt x="81" y="110"/>
                  </a:cubicBezTo>
                  <a:cubicBezTo>
                    <a:pt x="85" y="104"/>
                    <a:pt x="87" y="97"/>
                    <a:pt x="87" y="91"/>
                  </a:cubicBezTo>
                  <a:cubicBezTo>
                    <a:pt x="88" y="85"/>
                    <a:pt x="88" y="78"/>
                    <a:pt x="88" y="72"/>
                  </a:cubicBezTo>
                  <a:cubicBezTo>
                    <a:pt x="88" y="72"/>
                    <a:pt x="88" y="72"/>
                    <a:pt x="88" y="72"/>
                  </a:cubicBezTo>
                  <a:cubicBezTo>
                    <a:pt x="88" y="72"/>
                    <a:pt x="88" y="72"/>
                    <a:pt x="88"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grpSp>
        <p:nvGrpSpPr>
          <p:cNvPr id="41" name="组合 40"/>
          <p:cNvGrpSpPr/>
          <p:nvPr/>
        </p:nvGrpSpPr>
        <p:grpSpPr>
          <a:xfrm>
            <a:off x="6428877" y="2943638"/>
            <a:ext cx="500782" cy="489447"/>
            <a:chOff x="5710238" y="3049588"/>
            <a:chExt cx="771526" cy="754062"/>
          </a:xfrm>
          <a:solidFill>
            <a:srgbClr val="2C53B6"/>
          </a:solidFill>
        </p:grpSpPr>
        <p:sp>
          <p:nvSpPr>
            <p:cNvPr id="44" name="Freeform 355"/>
            <p:cNvSpPr/>
            <p:nvPr/>
          </p:nvSpPr>
          <p:spPr bwMode="auto">
            <a:xfrm>
              <a:off x="6026151" y="3049588"/>
              <a:ext cx="106363" cy="125413"/>
            </a:xfrm>
            <a:custGeom>
              <a:avLst/>
              <a:gdLst>
                <a:gd name="T0" fmla="*/ 11 w 28"/>
                <a:gd name="T1" fmla="*/ 32 h 33"/>
                <a:gd name="T2" fmla="*/ 26 w 28"/>
                <a:gd name="T3" fmla="*/ 19 h 33"/>
                <a:gd name="T4" fmla="*/ 17 w 28"/>
                <a:gd name="T5" fmla="*/ 1 h 33"/>
                <a:gd name="T6" fmla="*/ 1 w 28"/>
                <a:gd name="T7" fmla="*/ 14 h 33"/>
                <a:gd name="T8" fmla="*/ 11 w 28"/>
                <a:gd name="T9" fmla="*/ 32 h 33"/>
              </a:gdLst>
              <a:ahLst/>
              <a:cxnLst>
                <a:cxn ang="0">
                  <a:pos x="T0" y="T1"/>
                </a:cxn>
                <a:cxn ang="0">
                  <a:pos x="T2" y="T3"/>
                </a:cxn>
                <a:cxn ang="0">
                  <a:pos x="T4" y="T5"/>
                </a:cxn>
                <a:cxn ang="0">
                  <a:pos x="T6" y="T7"/>
                </a:cxn>
                <a:cxn ang="0">
                  <a:pos x="T8" y="T9"/>
                </a:cxn>
              </a:cxnLst>
              <a:rect l="0" t="0" r="r" b="b"/>
              <a:pathLst>
                <a:path w="28" h="33">
                  <a:moveTo>
                    <a:pt x="11" y="32"/>
                  </a:moveTo>
                  <a:cubicBezTo>
                    <a:pt x="18" y="33"/>
                    <a:pt x="24" y="27"/>
                    <a:pt x="26" y="19"/>
                  </a:cubicBezTo>
                  <a:cubicBezTo>
                    <a:pt x="28" y="10"/>
                    <a:pt x="24" y="2"/>
                    <a:pt x="17" y="1"/>
                  </a:cubicBezTo>
                  <a:cubicBezTo>
                    <a:pt x="10" y="0"/>
                    <a:pt x="3" y="6"/>
                    <a:pt x="1" y="14"/>
                  </a:cubicBezTo>
                  <a:cubicBezTo>
                    <a:pt x="0" y="22"/>
                    <a:pt x="4" y="30"/>
                    <a:pt x="11"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5" name="Freeform 356"/>
            <p:cNvSpPr/>
            <p:nvPr/>
          </p:nvSpPr>
          <p:spPr bwMode="auto">
            <a:xfrm>
              <a:off x="5797551" y="3160713"/>
              <a:ext cx="479425" cy="498475"/>
            </a:xfrm>
            <a:custGeom>
              <a:avLst/>
              <a:gdLst>
                <a:gd name="T0" fmla="*/ 27 w 126"/>
                <a:gd name="T1" fmla="*/ 32 h 131"/>
                <a:gd name="T2" fmla="*/ 40 w 126"/>
                <a:gd name="T3" fmla="*/ 22 h 131"/>
                <a:gd name="T4" fmla="*/ 26 w 126"/>
                <a:gd name="T5" fmla="*/ 62 h 131"/>
                <a:gd name="T6" fmla="*/ 26 w 126"/>
                <a:gd name="T7" fmla="*/ 62 h 131"/>
                <a:gd name="T8" fmla="*/ 36 w 126"/>
                <a:gd name="T9" fmla="*/ 66 h 131"/>
                <a:gd name="T10" fmla="*/ 31 w 126"/>
                <a:gd name="T11" fmla="*/ 91 h 131"/>
                <a:gd name="T12" fmla="*/ 17 w 126"/>
                <a:gd name="T13" fmla="*/ 123 h 131"/>
                <a:gd name="T14" fmla="*/ 32 w 126"/>
                <a:gd name="T15" fmla="*/ 131 h 131"/>
                <a:gd name="T16" fmla="*/ 51 w 126"/>
                <a:gd name="T17" fmla="*/ 88 h 131"/>
                <a:gd name="T18" fmla="*/ 54 w 126"/>
                <a:gd name="T19" fmla="*/ 74 h 131"/>
                <a:gd name="T20" fmla="*/ 75 w 126"/>
                <a:gd name="T21" fmla="*/ 75 h 131"/>
                <a:gd name="T22" fmla="*/ 73 w 126"/>
                <a:gd name="T23" fmla="*/ 79 h 131"/>
                <a:gd name="T24" fmla="*/ 70 w 126"/>
                <a:gd name="T25" fmla="*/ 96 h 131"/>
                <a:gd name="T26" fmla="*/ 86 w 126"/>
                <a:gd name="T27" fmla="*/ 100 h 131"/>
                <a:gd name="T28" fmla="*/ 92 w 126"/>
                <a:gd name="T29" fmla="*/ 80 h 131"/>
                <a:gd name="T30" fmla="*/ 95 w 126"/>
                <a:gd name="T31" fmla="*/ 69 h 131"/>
                <a:gd name="T32" fmla="*/ 86 w 126"/>
                <a:gd name="T33" fmla="*/ 57 h 131"/>
                <a:gd name="T34" fmla="*/ 86 w 126"/>
                <a:gd name="T35" fmla="*/ 57 h 131"/>
                <a:gd name="T36" fmla="*/ 85 w 126"/>
                <a:gd name="T37" fmla="*/ 57 h 131"/>
                <a:gd name="T38" fmla="*/ 84 w 126"/>
                <a:gd name="T39" fmla="*/ 57 h 131"/>
                <a:gd name="T40" fmla="*/ 81 w 126"/>
                <a:gd name="T41" fmla="*/ 56 h 131"/>
                <a:gd name="T42" fmla="*/ 76 w 126"/>
                <a:gd name="T43" fmla="*/ 56 h 131"/>
                <a:gd name="T44" fmla="*/ 66 w 126"/>
                <a:gd name="T45" fmla="*/ 55 h 131"/>
                <a:gd name="T46" fmla="*/ 74 w 126"/>
                <a:gd name="T47" fmla="*/ 27 h 131"/>
                <a:gd name="T48" fmla="*/ 78 w 126"/>
                <a:gd name="T49" fmla="*/ 33 h 131"/>
                <a:gd name="T50" fmla="*/ 83 w 126"/>
                <a:gd name="T51" fmla="*/ 39 h 131"/>
                <a:gd name="T52" fmla="*/ 84 w 126"/>
                <a:gd name="T53" fmla="*/ 40 h 131"/>
                <a:gd name="T54" fmla="*/ 91 w 126"/>
                <a:gd name="T55" fmla="*/ 45 h 131"/>
                <a:gd name="T56" fmla="*/ 91 w 126"/>
                <a:gd name="T57" fmla="*/ 45 h 131"/>
                <a:gd name="T58" fmla="*/ 91 w 126"/>
                <a:gd name="T59" fmla="*/ 45 h 131"/>
                <a:gd name="T60" fmla="*/ 92 w 126"/>
                <a:gd name="T61" fmla="*/ 45 h 131"/>
                <a:gd name="T62" fmla="*/ 95 w 126"/>
                <a:gd name="T63" fmla="*/ 45 h 131"/>
                <a:gd name="T64" fmla="*/ 126 w 126"/>
                <a:gd name="T65" fmla="*/ 45 h 131"/>
                <a:gd name="T66" fmla="*/ 126 w 126"/>
                <a:gd name="T67" fmla="*/ 28 h 131"/>
                <a:gd name="T68" fmla="*/ 95 w 126"/>
                <a:gd name="T69" fmla="*/ 29 h 131"/>
                <a:gd name="T70" fmla="*/ 94 w 126"/>
                <a:gd name="T71" fmla="*/ 29 h 131"/>
                <a:gd name="T72" fmla="*/ 91 w 126"/>
                <a:gd name="T73" fmla="*/ 24 h 131"/>
                <a:gd name="T74" fmla="*/ 81 w 126"/>
                <a:gd name="T75" fmla="*/ 12 h 131"/>
                <a:gd name="T76" fmla="*/ 75 w 126"/>
                <a:gd name="T77" fmla="*/ 9 h 131"/>
                <a:gd name="T78" fmla="*/ 74 w 126"/>
                <a:gd name="T79" fmla="*/ 8 h 131"/>
                <a:gd name="T80" fmla="*/ 76 w 126"/>
                <a:gd name="T81" fmla="*/ 14 h 131"/>
                <a:gd name="T82" fmla="*/ 71 w 126"/>
                <a:gd name="T83" fmla="*/ 16 h 131"/>
                <a:gd name="T84" fmla="*/ 71 w 126"/>
                <a:gd name="T85" fmla="*/ 21 h 131"/>
                <a:gd name="T86" fmla="*/ 61 w 126"/>
                <a:gd name="T87" fmla="*/ 37 h 131"/>
                <a:gd name="T88" fmla="*/ 68 w 126"/>
                <a:gd name="T89" fmla="*/ 12 h 131"/>
                <a:gd name="T90" fmla="*/ 69 w 126"/>
                <a:gd name="T91" fmla="*/ 11 h 131"/>
                <a:gd name="T92" fmla="*/ 70 w 126"/>
                <a:gd name="T93" fmla="*/ 6 h 131"/>
                <a:gd name="T94" fmla="*/ 68 w 126"/>
                <a:gd name="T95" fmla="*/ 5 h 131"/>
                <a:gd name="T96" fmla="*/ 65 w 126"/>
                <a:gd name="T97" fmla="*/ 10 h 131"/>
                <a:gd name="T98" fmla="*/ 65 w 126"/>
                <a:gd name="T99" fmla="*/ 11 h 131"/>
                <a:gd name="T100" fmla="*/ 57 w 126"/>
                <a:gd name="T101" fmla="*/ 35 h 131"/>
                <a:gd name="T102" fmla="*/ 58 w 126"/>
                <a:gd name="T103" fmla="*/ 17 h 131"/>
                <a:gd name="T104" fmla="*/ 61 w 126"/>
                <a:gd name="T105" fmla="*/ 12 h 131"/>
                <a:gd name="T106" fmla="*/ 59 w 126"/>
                <a:gd name="T107" fmla="*/ 8 h 131"/>
                <a:gd name="T108" fmla="*/ 63 w 126"/>
                <a:gd name="T109" fmla="*/ 4 h 131"/>
                <a:gd name="T110" fmla="*/ 53 w 126"/>
                <a:gd name="T111" fmla="*/ 1 h 131"/>
                <a:gd name="T112" fmla="*/ 44 w 126"/>
                <a:gd name="T113" fmla="*/ 1 h 131"/>
                <a:gd name="T114" fmla="*/ 18 w 126"/>
                <a:gd name="T115" fmla="*/ 19 h 131"/>
                <a:gd name="T116" fmla="*/ 0 w 126"/>
                <a:gd name="T117" fmla="*/ 49 h 131"/>
                <a:gd name="T118" fmla="*/ 15 w 126"/>
                <a:gd name="T119" fmla="*/ 57 h 131"/>
                <a:gd name="T120" fmla="*/ 27 w 126"/>
                <a:gd name="T121" fmla="*/ 3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31">
                  <a:moveTo>
                    <a:pt x="27" y="32"/>
                  </a:moveTo>
                  <a:cubicBezTo>
                    <a:pt x="40" y="22"/>
                    <a:pt x="40" y="22"/>
                    <a:pt x="40" y="22"/>
                  </a:cubicBezTo>
                  <a:cubicBezTo>
                    <a:pt x="35" y="36"/>
                    <a:pt x="30" y="49"/>
                    <a:pt x="26" y="62"/>
                  </a:cubicBezTo>
                  <a:cubicBezTo>
                    <a:pt x="26" y="62"/>
                    <a:pt x="26" y="62"/>
                    <a:pt x="26" y="62"/>
                  </a:cubicBezTo>
                  <a:cubicBezTo>
                    <a:pt x="29" y="64"/>
                    <a:pt x="33" y="65"/>
                    <a:pt x="36" y="66"/>
                  </a:cubicBezTo>
                  <a:cubicBezTo>
                    <a:pt x="35" y="75"/>
                    <a:pt x="33" y="85"/>
                    <a:pt x="31" y="91"/>
                  </a:cubicBezTo>
                  <a:cubicBezTo>
                    <a:pt x="17" y="123"/>
                    <a:pt x="17" y="123"/>
                    <a:pt x="17" y="123"/>
                  </a:cubicBezTo>
                  <a:cubicBezTo>
                    <a:pt x="32" y="131"/>
                    <a:pt x="32" y="131"/>
                    <a:pt x="32" y="131"/>
                  </a:cubicBezTo>
                  <a:cubicBezTo>
                    <a:pt x="37" y="119"/>
                    <a:pt x="46" y="107"/>
                    <a:pt x="51" y="88"/>
                  </a:cubicBezTo>
                  <a:cubicBezTo>
                    <a:pt x="52" y="83"/>
                    <a:pt x="53" y="78"/>
                    <a:pt x="54" y="74"/>
                  </a:cubicBezTo>
                  <a:cubicBezTo>
                    <a:pt x="75" y="75"/>
                    <a:pt x="75" y="75"/>
                    <a:pt x="75" y="75"/>
                  </a:cubicBezTo>
                  <a:cubicBezTo>
                    <a:pt x="73" y="79"/>
                    <a:pt x="73" y="79"/>
                    <a:pt x="73" y="79"/>
                  </a:cubicBezTo>
                  <a:cubicBezTo>
                    <a:pt x="70" y="96"/>
                    <a:pt x="70" y="96"/>
                    <a:pt x="70" y="96"/>
                  </a:cubicBezTo>
                  <a:cubicBezTo>
                    <a:pt x="86" y="100"/>
                    <a:pt x="86" y="100"/>
                    <a:pt x="86" y="100"/>
                  </a:cubicBezTo>
                  <a:cubicBezTo>
                    <a:pt x="88" y="95"/>
                    <a:pt x="90" y="88"/>
                    <a:pt x="92" y="80"/>
                  </a:cubicBezTo>
                  <a:cubicBezTo>
                    <a:pt x="95" y="69"/>
                    <a:pt x="95" y="69"/>
                    <a:pt x="95" y="69"/>
                  </a:cubicBezTo>
                  <a:cubicBezTo>
                    <a:pt x="86" y="57"/>
                    <a:pt x="86" y="57"/>
                    <a:pt x="86" y="57"/>
                  </a:cubicBezTo>
                  <a:cubicBezTo>
                    <a:pt x="86" y="57"/>
                    <a:pt x="86" y="57"/>
                    <a:pt x="86" y="57"/>
                  </a:cubicBezTo>
                  <a:cubicBezTo>
                    <a:pt x="85" y="57"/>
                    <a:pt x="85" y="57"/>
                    <a:pt x="85" y="57"/>
                  </a:cubicBezTo>
                  <a:cubicBezTo>
                    <a:pt x="84" y="57"/>
                    <a:pt x="84" y="57"/>
                    <a:pt x="84" y="57"/>
                  </a:cubicBezTo>
                  <a:cubicBezTo>
                    <a:pt x="81" y="56"/>
                    <a:pt x="81" y="56"/>
                    <a:pt x="81" y="56"/>
                  </a:cubicBezTo>
                  <a:cubicBezTo>
                    <a:pt x="76" y="56"/>
                    <a:pt x="76" y="56"/>
                    <a:pt x="76" y="56"/>
                  </a:cubicBezTo>
                  <a:cubicBezTo>
                    <a:pt x="72" y="56"/>
                    <a:pt x="69" y="56"/>
                    <a:pt x="66" y="55"/>
                  </a:cubicBezTo>
                  <a:cubicBezTo>
                    <a:pt x="69" y="46"/>
                    <a:pt x="72" y="36"/>
                    <a:pt x="74" y="27"/>
                  </a:cubicBezTo>
                  <a:cubicBezTo>
                    <a:pt x="78" y="33"/>
                    <a:pt x="78" y="33"/>
                    <a:pt x="78" y="33"/>
                  </a:cubicBezTo>
                  <a:cubicBezTo>
                    <a:pt x="83" y="39"/>
                    <a:pt x="83" y="39"/>
                    <a:pt x="83" y="39"/>
                  </a:cubicBezTo>
                  <a:cubicBezTo>
                    <a:pt x="84" y="40"/>
                    <a:pt x="84" y="40"/>
                    <a:pt x="84" y="40"/>
                  </a:cubicBezTo>
                  <a:cubicBezTo>
                    <a:pt x="91" y="45"/>
                    <a:pt x="91" y="45"/>
                    <a:pt x="91" y="45"/>
                  </a:cubicBezTo>
                  <a:cubicBezTo>
                    <a:pt x="91" y="45"/>
                    <a:pt x="91" y="45"/>
                    <a:pt x="91" y="45"/>
                  </a:cubicBezTo>
                  <a:cubicBezTo>
                    <a:pt x="91" y="45"/>
                    <a:pt x="91" y="45"/>
                    <a:pt x="91" y="45"/>
                  </a:cubicBezTo>
                  <a:cubicBezTo>
                    <a:pt x="92" y="45"/>
                    <a:pt x="92" y="45"/>
                    <a:pt x="92" y="45"/>
                  </a:cubicBezTo>
                  <a:cubicBezTo>
                    <a:pt x="95" y="45"/>
                    <a:pt x="95" y="45"/>
                    <a:pt x="95" y="45"/>
                  </a:cubicBezTo>
                  <a:cubicBezTo>
                    <a:pt x="126" y="45"/>
                    <a:pt x="126" y="45"/>
                    <a:pt x="126" y="45"/>
                  </a:cubicBezTo>
                  <a:cubicBezTo>
                    <a:pt x="126" y="39"/>
                    <a:pt x="126" y="34"/>
                    <a:pt x="126" y="28"/>
                  </a:cubicBezTo>
                  <a:cubicBezTo>
                    <a:pt x="95" y="29"/>
                    <a:pt x="95" y="29"/>
                    <a:pt x="95" y="29"/>
                  </a:cubicBezTo>
                  <a:cubicBezTo>
                    <a:pt x="94" y="29"/>
                    <a:pt x="94" y="29"/>
                    <a:pt x="94" y="29"/>
                  </a:cubicBezTo>
                  <a:cubicBezTo>
                    <a:pt x="91" y="24"/>
                    <a:pt x="91" y="24"/>
                    <a:pt x="91" y="24"/>
                  </a:cubicBezTo>
                  <a:cubicBezTo>
                    <a:pt x="81" y="12"/>
                    <a:pt x="81" y="12"/>
                    <a:pt x="81" y="12"/>
                  </a:cubicBezTo>
                  <a:cubicBezTo>
                    <a:pt x="80" y="10"/>
                    <a:pt x="78" y="9"/>
                    <a:pt x="75" y="9"/>
                  </a:cubicBezTo>
                  <a:cubicBezTo>
                    <a:pt x="75" y="8"/>
                    <a:pt x="75" y="8"/>
                    <a:pt x="74" y="8"/>
                  </a:cubicBezTo>
                  <a:cubicBezTo>
                    <a:pt x="76" y="14"/>
                    <a:pt x="76" y="14"/>
                    <a:pt x="76" y="14"/>
                  </a:cubicBezTo>
                  <a:cubicBezTo>
                    <a:pt x="71" y="16"/>
                    <a:pt x="71" y="16"/>
                    <a:pt x="71" y="16"/>
                  </a:cubicBezTo>
                  <a:cubicBezTo>
                    <a:pt x="71" y="21"/>
                    <a:pt x="71" y="21"/>
                    <a:pt x="71" y="21"/>
                  </a:cubicBezTo>
                  <a:cubicBezTo>
                    <a:pt x="61" y="37"/>
                    <a:pt x="61" y="37"/>
                    <a:pt x="61" y="37"/>
                  </a:cubicBezTo>
                  <a:cubicBezTo>
                    <a:pt x="68" y="12"/>
                    <a:pt x="68" y="12"/>
                    <a:pt x="68" y="12"/>
                  </a:cubicBezTo>
                  <a:cubicBezTo>
                    <a:pt x="69" y="11"/>
                    <a:pt x="69" y="11"/>
                    <a:pt x="69" y="11"/>
                  </a:cubicBezTo>
                  <a:cubicBezTo>
                    <a:pt x="70" y="6"/>
                    <a:pt x="70" y="6"/>
                    <a:pt x="70" y="6"/>
                  </a:cubicBezTo>
                  <a:cubicBezTo>
                    <a:pt x="68" y="5"/>
                    <a:pt x="68" y="5"/>
                    <a:pt x="68" y="5"/>
                  </a:cubicBezTo>
                  <a:cubicBezTo>
                    <a:pt x="65" y="10"/>
                    <a:pt x="65" y="10"/>
                    <a:pt x="65" y="10"/>
                  </a:cubicBezTo>
                  <a:cubicBezTo>
                    <a:pt x="65" y="11"/>
                    <a:pt x="65" y="11"/>
                    <a:pt x="65" y="11"/>
                  </a:cubicBezTo>
                  <a:cubicBezTo>
                    <a:pt x="57" y="35"/>
                    <a:pt x="57" y="35"/>
                    <a:pt x="57" y="35"/>
                  </a:cubicBezTo>
                  <a:cubicBezTo>
                    <a:pt x="58" y="17"/>
                    <a:pt x="58" y="17"/>
                    <a:pt x="58" y="17"/>
                  </a:cubicBezTo>
                  <a:cubicBezTo>
                    <a:pt x="61" y="12"/>
                    <a:pt x="61" y="12"/>
                    <a:pt x="61" y="12"/>
                  </a:cubicBezTo>
                  <a:cubicBezTo>
                    <a:pt x="59" y="8"/>
                    <a:pt x="59" y="8"/>
                    <a:pt x="59" y="8"/>
                  </a:cubicBezTo>
                  <a:cubicBezTo>
                    <a:pt x="63" y="4"/>
                    <a:pt x="63" y="4"/>
                    <a:pt x="63" y="4"/>
                  </a:cubicBezTo>
                  <a:cubicBezTo>
                    <a:pt x="60" y="3"/>
                    <a:pt x="56" y="2"/>
                    <a:pt x="53" y="1"/>
                  </a:cubicBezTo>
                  <a:cubicBezTo>
                    <a:pt x="48" y="0"/>
                    <a:pt x="47" y="0"/>
                    <a:pt x="44" y="1"/>
                  </a:cubicBezTo>
                  <a:cubicBezTo>
                    <a:pt x="18" y="19"/>
                    <a:pt x="18" y="19"/>
                    <a:pt x="18" y="19"/>
                  </a:cubicBezTo>
                  <a:cubicBezTo>
                    <a:pt x="7" y="34"/>
                    <a:pt x="6" y="39"/>
                    <a:pt x="0" y="49"/>
                  </a:cubicBezTo>
                  <a:cubicBezTo>
                    <a:pt x="5" y="52"/>
                    <a:pt x="10" y="55"/>
                    <a:pt x="15" y="57"/>
                  </a:cubicBezTo>
                  <a:cubicBezTo>
                    <a:pt x="19" y="49"/>
                    <a:pt x="27" y="35"/>
                    <a:pt x="27"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6" name="Freeform 357"/>
            <p:cNvSpPr>
              <a:spLocks noEditPoints="1"/>
            </p:cNvSpPr>
            <p:nvPr/>
          </p:nvSpPr>
          <p:spPr bwMode="auto">
            <a:xfrm>
              <a:off x="5710238" y="3370263"/>
              <a:ext cx="169863" cy="155575"/>
            </a:xfrm>
            <a:custGeom>
              <a:avLst/>
              <a:gdLst>
                <a:gd name="T0" fmla="*/ 5 w 45"/>
                <a:gd name="T1" fmla="*/ 33 h 41"/>
                <a:gd name="T2" fmla="*/ 7 w 45"/>
                <a:gd name="T3" fmla="*/ 32 h 41"/>
                <a:gd name="T4" fmla="*/ 7 w 45"/>
                <a:gd name="T5" fmla="*/ 32 h 41"/>
                <a:gd name="T6" fmla="*/ 29 w 45"/>
                <a:gd name="T7" fmla="*/ 39 h 41"/>
                <a:gd name="T8" fmla="*/ 29 w 45"/>
                <a:gd name="T9" fmla="*/ 39 h 41"/>
                <a:gd name="T10" fmla="*/ 30 w 45"/>
                <a:gd name="T11" fmla="*/ 41 h 41"/>
                <a:gd name="T12" fmla="*/ 32 w 45"/>
                <a:gd name="T13" fmla="*/ 41 h 41"/>
                <a:gd name="T14" fmla="*/ 33 w 45"/>
                <a:gd name="T15" fmla="*/ 40 h 41"/>
                <a:gd name="T16" fmla="*/ 33 w 45"/>
                <a:gd name="T17" fmla="*/ 40 h 41"/>
                <a:gd name="T18" fmla="*/ 38 w 45"/>
                <a:gd name="T19" fmla="*/ 37 h 41"/>
                <a:gd name="T20" fmla="*/ 44 w 45"/>
                <a:gd name="T21" fmla="*/ 18 h 41"/>
                <a:gd name="T22" fmla="*/ 41 w 45"/>
                <a:gd name="T23" fmla="*/ 13 h 41"/>
                <a:gd name="T24" fmla="*/ 36 w 45"/>
                <a:gd name="T25" fmla="*/ 11 h 41"/>
                <a:gd name="T26" fmla="*/ 36 w 45"/>
                <a:gd name="T27" fmla="*/ 11 h 41"/>
                <a:gd name="T28" fmla="*/ 32 w 45"/>
                <a:gd name="T29" fmla="*/ 4 h 41"/>
                <a:gd name="T30" fmla="*/ 25 w 45"/>
                <a:gd name="T31" fmla="*/ 1 h 41"/>
                <a:gd name="T32" fmla="*/ 17 w 45"/>
                <a:gd name="T33" fmla="*/ 5 h 41"/>
                <a:gd name="T34" fmla="*/ 17 w 45"/>
                <a:gd name="T35" fmla="*/ 6 h 41"/>
                <a:gd name="T36" fmla="*/ 12 w 45"/>
                <a:gd name="T37" fmla="*/ 4 h 41"/>
                <a:gd name="T38" fmla="*/ 7 w 45"/>
                <a:gd name="T39" fmla="*/ 7 h 41"/>
                <a:gd name="T40" fmla="*/ 1 w 45"/>
                <a:gd name="T41" fmla="*/ 25 h 41"/>
                <a:gd name="T42" fmla="*/ 3 w 45"/>
                <a:gd name="T43" fmla="*/ 30 h 41"/>
                <a:gd name="T44" fmla="*/ 3 w 45"/>
                <a:gd name="T45" fmla="*/ 31 h 41"/>
                <a:gd name="T46" fmla="*/ 3 w 45"/>
                <a:gd name="T47" fmla="*/ 32 h 41"/>
                <a:gd name="T48" fmla="*/ 5 w 45"/>
                <a:gd name="T49" fmla="*/ 33 h 41"/>
                <a:gd name="T50" fmla="*/ 20 w 45"/>
                <a:gd name="T51" fmla="*/ 6 h 41"/>
                <a:gd name="T52" fmla="*/ 24 w 45"/>
                <a:gd name="T53" fmla="*/ 4 h 41"/>
                <a:gd name="T54" fmla="*/ 31 w 45"/>
                <a:gd name="T55" fmla="*/ 7 h 41"/>
                <a:gd name="T56" fmla="*/ 33 w 45"/>
                <a:gd name="T57" fmla="*/ 10 h 41"/>
                <a:gd name="T58" fmla="*/ 33 w 45"/>
                <a:gd name="T59" fmla="*/ 10 h 41"/>
                <a:gd name="T60" fmla="*/ 20 w 45"/>
                <a:gd name="T61"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41">
                  <a:moveTo>
                    <a:pt x="5" y="33"/>
                  </a:moveTo>
                  <a:cubicBezTo>
                    <a:pt x="6" y="33"/>
                    <a:pt x="7" y="33"/>
                    <a:pt x="7" y="32"/>
                  </a:cubicBezTo>
                  <a:cubicBezTo>
                    <a:pt x="7" y="32"/>
                    <a:pt x="7" y="32"/>
                    <a:pt x="7" y="32"/>
                  </a:cubicBezTo>
                  <a:cubicBezTo>
                    <a:pt x="29" y="39"/>
                    <a:pt x="29" y="39"/>
                    <a:pt x="29" y="39"/>
                  </a:cubicBezTo>
                  <a:cubicBezTo>
                    <a:pt x="29" y="39"/>
                    <a:pt x="29" y="39"/>
                    <a:pt x="29" y="39"/>
                  </a:cubicBezTo>
                  <a:cubicBezTo>
                    <a:pt x="29" y="40"/>
                    <a:pt x="29" y="40"/>
                    <a:pt x="30" y="41"/>
                  </a:cubicBezTo>
                  <a:cubicBezTo>
                    <a:pt x="32" y="41"/>
                    <a:pt x="32" y="41"/>
                    <a:pt x="32" y="41"/>
                  </a:cubicBezTo>
                  <a:cubicBezTo>
                    <a:pt x="32" y="41"/>
                    <a:pt x="33" y="41"/>
                    <a:pt x="33" y="40"/>
                  </a:cubicBezTo>
                  <a:cubicBezTo>
                    <a:pt x="33" y="40"/>
                    <a:pt x="33" y="40"/>
                    <a:pt x="33" y="40"/>
                  </a:cubicBezTo>
                  <a:cubicBezTo>
                    <a:pt x="35" y="40"/>
                    <a:pt x="37" y="39"/>
                    <a:pt x="38" y="37"/>
                  </a:cubicBezTo>
                  <a:cubicBezTo>
                    <a:pt x="44" y="18"/>
                    <a:pt x="44" y="18"/>
                    <a:pt x="44" y="18"/>
                  </a:cubicBezTo>
                  <a:cubicBezTo>
                    <a:pt x="45" y="16"/>
                    <a:pt x="43" y="14"/>
                    <a:pt x="41" y="13"/>
                  </a:cubicBezTo>
                  <a:cubicBezTo>
                    <a:pt x="36" y="11"/>
                    <a:pt x="36" y="11"/>
                    <a:pt x="36" y="11"/>
                  </a:cubicBezTo>
                  <a:cubicBezTo>
                    <a:pt x="36" y="11"/>
                    <a:pt x="36" y="11"/>
                    <a:pt x="36" y="11"/>
                  </a:cubicBezTo>
                  <a:cubicBezTo>
                    <a:pt x="37" y="8"/>
                    <a:pt x="35" y="4"/>
                    <a:pt x="32" y="4"/>
                  </a:cubicBezTo>
                  <a:cubicBezTo>
                    <a:pt x="25" y="1"/>
                    <a:pt x="25" y="1"/>
                    <a:pt x="25" y="1"/>
                  </a:cubicBezTo>
                  <a:cubicBezTo>
                    <a:pt x="22" y="0"/>
                    <a:pt x="18" y="2"/>
                    <a:pt x="17" y="5"/>
                  </a:cubicBezTo>
                  <a:cubicBezTo>
                    <a:pt x="17" y="6"/>
                    <a:pt x="17" y="6"/>
                    <a:pt x="17" y="6"/>
                  </a:cubicBezTo>
                  <a:cubicBezTo>
                    <a:pt x="12" y="4"/>
                    <a:pt x="12" y="4"/>
                    <a:pt x="12" y="4"/>
                  </a:cubicBezTo>
                  <a:cubicBezTo>
                    <a:pt x="10" y="3"/>
                    <a:pt x="7" y="4"/>
                    <a:pt x="7" y="7"/>
                  </a:cubicBezTo>
                  <a:cubicBezTo>
                    <a:pt x="1" y="25"/>
                    <a:pt x="1" y="25"/>
                    <a:pt x="1" y="25"/>
                  </a:cubicBezTo>
                  <a:cubicBezTo>
                    <a:pt x="0" y="27"/>
                    <a:pt x="1" y="30"/>
                    <a:pt x="3" y="30"/>
                  </a:cubicBezTo>
                  <a:cubicBezTo>
                    <a:pt x="3" y="31"/>
                    <a:pt x="3" y="31"/>
                    <a:pt x="3" y="31"/>
                  </a:cubicBezTo>
                  <a:cubicBezTo>
                    <a:pt x="2" y="31"/>
                    <a:pt x="3" y="32"/>
                    <a:pt x="3" y="32"/>
                  </a:cubicBezTo>
                  <a:lnTo>
                    <a:pt x="5" y="33"/>
                  </a:lnTo>
                  <a:close/>
                  <a:moveTo>
                    <a:pt x="20" y="6"/>
                  </a:moveTo>
                  <a:cubicBezTo>
                    <a:pt x="21" y="4"/>
                    <a:pt x="22" y="4"/>
                    <a:pt x="24" y="4"/>
                  </a:cubicBezTo>
                  <a:cubicBezTo>
                    <a:pt x="31" y="7"/>
                    <a:pt x="31" y="7"/>
                    <a:pt x="31" y="7"/>
                  </a:cubicBezTo>
                  <a:cubicBezTo>
                    <a:pt x="33" y="7"/>
                    <a:pt x="33" y="8"/>
                    <a:pt x="33" y="10"/>
                  </a:cubicBezTo>
                  <a:cubicBezTo>
                    <a:pt x="33" y="10"/>
                    <a:pt x="33" y="10"/>
                    <a:pt x="33" y="10"/>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7" name="Freeform 358"/>
            <p:cNvSpPr/>
            <p:nvPr/>
          </p:nvSpPr>
          <p:spPr bwMode="auto">
            <a:xfrm>
              <a:off x="5721351" y="3340100"/>
              <a:ext cx="760413" cy="463550"/>
            </a:xfrm>
            <a:custGeom>
              <a:avLst/>
              <a:gdLst>
                <a:gd name="T0" fmla="*/ 479 w 479"/>
                <a:gd name="T1" fmla="*/ 0 h 292"/>
                <a:gd name="T2" fmla="*/ 395 w 479"/>
                <a:gd name="T3" fmla="*/ 33 h 292"/>
                <a:gd name="T4" fmla="*/ 412 w 479"/>
                <a:gd name="T5" fmla="*/ 45 h 292"/>
                <a:gd name="T6" fmla="*/ 307 w 479"/>
                <a:gd name="T7" fmla="*/ 158 h 292"/>
                <a:gd name="T8" fmla="*/ 213 w 479"/>
                <a:gd name="T9" fmla="*/ 148 h 292"/>
                <a:gd name="T10" fmla="*/ 139 w 479"/>
                <a:gd name="T11" fmla="*/ 225 h 292"/>
                <a:gd name="T12" fmla="*/ 62 w 479"/>
                <a:gd name="T13" fmla="*/ 187 h 292"/>
                <a:gd name="T14" fmla="*/ 0 w 479"/>
                <a:gd name="T15" fmla="*/ 266 h 292"/>
                <a:gd name="T16" fmla="*/ 33 w 479"/>
                <a:gd name="T17" fmla="*/ 292 h 292"/>
                <a:gd name="T18" fmla="*/ 74 w 479"/>
                <a:gd name="T19" fmla="*/ 242 h 292"/>
                <a:gd name="T20" fmla="*/ 148 w 479"/>
                <a:gd name="T21" fmla="*/ 278 h 292"/>
                <a:gd name="T22" fmla="*/ 230 w 479"/>
                <a:gd name="T23" fmla="*/ 194 h 292"/>
                <a:gd name="T24" fmla="*/ 323 w 479"/>
                <a:gd name="T25" fmla="*/ 204 h 292"/>
                <a:gd name="T26" fmla="*/ 448 w 479"/>
                <a:gd name="T27" fmla="*/ 72 h 292"/>
                <a:gd name="T28" fmla="*/ 472 w 479"/>
                <a:gd name="T29" fmla="*/ 88 h 292"/>
                <a:gd name="T30" fmla="*/ 479 w 479"/>
                <a:gd name="T3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292">
                  <a:moveTo>
                    <a:pt x="479" y="0"/>
                  </a:moveTo>
                  <a:lnTo>
                    <a:pt x="395" y="33"/>
                  </a:lnTo>
                  <a:lnTo>
                    <a:pt x="412" y="45"/>
                  </a:lnTo>
                  <a:lnTo>
                    <a:pt x="307" y="158"/>
                  </a:lnTo>
                  <a:lnTo>
                    <a:pt x="213" y="148"/>
                  </a:lnTo>
                  <a:lnTo>
                    <a:pt x="139" y="225"/>
                  </a:lnTo>
                  <a:lnTo>
                    <a:pt x="62" y="187"/>
                  </a:lnTo>
                  <a:lnTo>
                    <a:pt x="0" y="266"/>
                  </a:lnTo>
                  <a:lnTo>
                    <a:pt x="33" y="292"/>
                  </a:lnTo>
                  <a:lnTo>
                    <a:pt x="74" y="242"/>
                  </a:lnTo>
                  <a:lnTo>
                    <a:pt x="148" y="278"/>
                  </a:lnTo>
                  <a:lnTo>
                    <a:pt x="230" y="194"/>
                  </a:lnTo>
                  <a:lnTo>
                    <a:pt x="323" y="204"/>
                  </a:lnTo>
                  <a:lnTo>
                    <a:pt x="448" y="72"/>
                  </a:lnTo>
                  <a:lnTo>
                    <a:pt x="472" y="88"/>
                  </a:lnTo>
                  <a:lnTo>
                    <a:pt x="47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sp>
        <p:nvSpPr>
          <p:cNvPr id="48" name="矩形 47"/>
          <p:cNvSpPr/>
          <p:nvPr/>
        </p:nvSpPr>
        <p:spPr>
          <a:xfrm>
            <a:off x="3825777" y="3803952"/>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p>
        </p:txBody>
      </p:sp>
      <p:sp>
        <p:nvSpPr>
          <p:cNvPr id="49" name="矩形 48"/>
          <p:cNvSpPr/>
          <p:nvPr/>
        </p:nvSpPr>
        <p:spPr>
          <a:xfrm>
            <a:off x="3530062" y="4084116"/>
            <a:ext cx="1922313" cy="472437"/>
          </a:xfrm>
          <a:prstGeom prst="rect">
            <a:avLst/>
          </a:prstGeom>
        </p:spPr>
        <p:txBody>
          <a:bodyPr wrap="square">
            <a:spAutoFit/>
          </a:bodyPr>
          <a:lstStyle/>
          <a:p>
            <a:pPr algn="ct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50" name="矩形 49"/>
          <p:cNvSpPr/>
          <p:nvPr/>
        </p:nvSpPr>
        <p:spPr>
          <a:xfrm>
            <a:off x="5995601" y="3561306"/>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p>
        </p:txBody>
      </p:sp>
      <p:sp>
        <p:nvSpPr>
          <p:cNvPr id="51" name="矩形 50"/>
          <p:cNvSpPr/>
          <p:nvPr/>
        </p:nvSpPr>
        <p:spPr>
          <a:xfrm>
            <a:off x="5699886" y="3841470"/>
            <a:ext cx="1922313" cy="472437"/>
          </a:xfrm>
          <a:prstGeom prst="rect">
            <a:avLst/>
          </a:prstGeom>
        </p:spPr>
        <p:txBody>
          <a:bodyPr wrap="square">
            <a:spAutoFit/>
          </a:bodyPr>
          <a:lstStyle/>
          <a:p>
            <a:pPr algn="ct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grpSp>
        <p:nvGrpSpPr>
          <p:cNvPr id="52" name="组合 51"/>
          <p:cNvGrpSpPr/>
          <p:nvPr/>
        </p:nvGrpSpPr>
        <p:grpSpPr>
          <a:xfrm>
            <a:off x="1285254" y="907508"/>
            <a:ext cx="6315526" cy="2129188"/>
            <a:chOff x="2496683" y="1908087"/>
            <a:chExt cx="7137403" cy="2406272"/>
          </a:xfrm>
        </p:grpSpPr>
        <p:grpSp>
          <p:nvGrpSpPr>
            <p:cNvPr id="53" name="Group 12"/>
            <p:cNvGrpSpPr>
              <a:grpSpLocks noChangeAspect="1"/>
            </p:cNvGrpSpPr>
            <p:nvPr/>
          </p:nvGrpSpPr>
          <p:grpSpPr bwMode="auto">
            <a:xfrm>
              <a:off x="7094818" y="2392013"/>
              <a:ext cx="2539268" cy="1542004"/>
              <a:chOff x="538115" y="2342244"/>
              <a:chExt cx="6736746" cy="3875068"/>
            </a:xfrm>
          </p:grpSpPr>
          <p:pic>
            <p:nvPicPr>
              <p:cNvPr id="64" name="Picture 1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14"/>
              <p:cNvSpPr/>
              <p:nvPr/>
            </p:nvSpPr>
            <p:spPr>
              <a:xfrm>
                <a:off x="1346069" y="2555131"/>
                <a:ext cx="5120837" cy="3225629"/>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nvGrpSpPr>
            <p:cNvPr id="54" name="Group 9"/>
            <p:cNvGrpSpPr>
              <a:grpSpLocks noChangeAspect="1"/>
            </p:cNvGrpSpPr>
            <p:nvPr/>
          </p:nvGrpSpPr>
          <p:grpSpPr bwMode="auto">
            <a:xfrm>
              <a:off x="2496683" y="2387250"/>
              <a:ext cx="2540342" cy="1542004"/>
              <a:chOff x="538115" y="2342244"/>
              <a:chExt cx="6736746" cy="3875068"/>
            </a:xfrm>
          </p:grpSpPr>
          <p:pic>
            <p:nvPicPr>
              <p:cNvPr id="58" name="Picture 10"/>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11"/>
              <p:cNvSpPr/>
              <p:nvPr/>
            </p:nvSpPr>
            <p:spPr>
              <a:xfrm>
                <a:off x="1345728" y="2555131"/>
                <a:ext cx="5121520" cy="3225629"/>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nvGrpSpPr>
            <p:cNvPr id="55" name="Group 6"/>
            <p:cNvGrpSpPr/>
            <p:nvPr/>
          </p:nvGrpSpPr>
          <p:grpSpPr bwMode="auto">
            <a:xfrm>
              <a:off x="4083560" y="1908087"/>
              <a:ext cx="3963590" cy="2406272"/>
              <a:chOff x="538115" y="2342244"/>
              <a:chExt cx="6736746" cy="3875068"/>
            </a:xfrm>
          </p:grpSpPr>
          <p:pic>
            <p:nvPicPr>
              <p:cNvPr id="56" name="Picture 7"/>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8"/>
              <p:cNvSpPr/>
              <p:nvPr/>
            </p:nvSpPr>
            <p:spPr>
              <a:xfrm>
                <a:off x="1343793" y="2553572"/>
                <a:ext cx="5123113" cy="3228145"/>
              </a:xfrm>
              <a:prstGeom prst="rect">
                <a:avLst/>
              </a:prstGeom>
              <a:blipFill dpi="0" rotWithShape="1">
                <a:blip r:embed="rId8"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sp>
        <p:nvSpPr>
          <p:cNvPr id="6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7" name="矩形 6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7366">
        <p:blinds dir="vert"/>
      </p:transition>
    </mc:Choice>
    <mc:Fallback xmlns="">
      <p:transition spd="slow" advClick="0" advTm="7366">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9" presetClass="entr" presetSubtype="0" decel="100000" fill="hold" nodeType="after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p:cTn id="13" dur="500" fill="hold"/>
                                        <p:tgtEl>
                                          <p:spTgt spid="38"/>
                                        </p:tgtEl>
                                        <p:attrNameLst>
                                          <p:attrName>ppt_w</p:attrName>
                                        </p:attrNameLst>
                                      </p:cBhvr>
                                      <p:tavLst>
                                        <p:tav tm="0">
                                          <p:val>
                                            <p:fltVal val="0"/>
                                          </p:val>
                                        </p:tav>
                                        <p:tav tm="100000">
                                          <p:val>
                                            <p:strVal val="#ppt_w"/>
                                          </p:val>
                                        </p:tav>
                                      </p:tavLst>
                                    </p:anim>
                                    <p:anim calcmode="lin" valueType="num">
                                      <p:cBhvr>
                                        <p:cTn id="14" dur="500" fill="hold"/>
                                        <p:tgtEl>
                                          <p:spTgt spid="38"/>
                                        </p:tgtEl>
                                        <p:attrNameLst>
                                          <p:attrName>ppt_h</p:attrName>
                                        </p:attrNameLst>
                                      </p:cBhvr>
                                      <p:tavLst>
                                        <p:tav tm="0">
                                          <p:val>
                                            <p:fltVal val="0"/>
                                          </p:val>
                                        </p:tav>
                                        <p:tav tm="100000">
                                          <p:val>
                                            <p:strVal val="#ppt_h"/>
                                          </p:val>
                                        </p:tav>
                                      </p:tavLst>
                                    </p:anim>
                                    <p:anim calcmode="lin" valueType="num">
                                      <p:cBhvr>
                                        <p:cTn id="15" dur="500" fill="hold"/>
                                        <p:tgtEl>
                                          <p:spTgt spid="38"/>
                                        </p:tgtEl>
                                        <p:attrNameLst>
                                          <p:attrName>style.rotation</p:attrName>
                                        </p:attrNameLst>
                                      </p:cBhvr>
                                      <p:tavLst>
                                        <p:tav tm="0">
                                          <p:val>
                                            <p:fltVal val="360"/>
                                          </p:val>
                                        </p:tav>
                                        <p:tav tm="100000">
                                          <p:val>
                                            <p:fltVal val="0"/>
                                          </p:val>
                                        </p:tav>
                                      </p:tavLst>
                                    </p:anim>
                                    <p:animEffect transition="in" filter="fade">
                                      <p:cBhvr>
                                        <p:cTn id="16" dur="500"/>
                                        <p:tgtEl>
                                          <p:spTgt spid="38"/>
                                        </p:tgtEl>
                                      </p:cBhvr>
                                    </p:animEffect>
                                  </p:childTnLst>
                                </p:cTn>
                              </p:par>
                            </p:childTnLst>
                          </p:cTn>
                        </p:par>
                        <p:par>
                          <p:cTn id="17" fill="hold">
                            <p:stCondLst>
                              <p:cond delay="1500"/>
                            </p:stCondLst>
                            <p:childTnLst>
                              <p:par>
                                <p:cTn id="18" presetID="23" presetClass="entr" presetSubtype="16" fill="hold" grpId="0" nodeType="afterEffect">
                                  <p:stCondLst>
                                    <p:cond delay="0"/>
                                  </p:stCondLst>
                                  <p:iterate type="lt">
                                    <p:tmPct val="10000"/>
                                  </p:iterate>
                                  <p:childTnLst>
                                    <p:set>
                                      <p:cBhvr>
                                        <p:cTn id="19" dur="1" fill="hold">
                                          <p:stCondLst>
                                            <p:cond delay="0"/>
                                          </p:stCondLst>
                                        </p:cTn>
                                        <p:tgtEl>
                                          <p:spTgt spid="15"/>
                                        </p:tgtEl>
                                        <p:attrNameLst>
                                          <p:attrName>style.visibility</p:attrName>
                                        </p:attrNameLst>
                                      </p:cBhvr>
                                      <p:to>
                                        <p:strVal val="visible"/>
                                      </p:to>
                                    </p:set>
                                    <p:anim calcmode="lin" valueType="num">
                                      <p:cBhvr>
                                        <p:cTn id="20" dur="250" fill="hold"/>
                                        <p:tgtEl>
                                          <p:spTgt spid="15"/>
                                        </p:tgtEl>
                                        <p:attrNameLst>
                                          <p:attrName>ppt_w</p:attrName>
                                        </p:attrNameLst>
                                      </p:cBhvr>
                                      <p:tavLst>
                                        <p:tav tm="0">
                                          <p:val>
                                            <p:fltVal val="0"/>
                                          </p:val>
                                        </p:tav>
                                        <p:tav tm="100000">
                                          <p:val>
                                            <p:strVal val="#ppt_w"/>
                                          </p:val>
                                        </p:tav>
                                      </p:tavLst>
                                    </p:anim>
                                    <p:anim calcmode="lin" valueType="num">
                                      <p:cBhvr>
                                        <p:cTn id="21" dur="250" fill="hold"/>
                                        <p:tgtEl>
                                          <p:spTgt spid="15"/>
                                        </p:tgtEl>
                                        <p:attrNameLst>
                                          <p:attrName>ppt_h</p:attrName>
                                        </p:attrNameLst>
                                      </p:cBhvr>
                                      <p:tavLst>
                                        <p:tav tm="0">
                                          <p:val>
                                            <p:fltVal val="0"/>
                                          </p:val>
                                        </p:tav>
                                        <p:tav tm="100000">
                                          <p:val>
                                            <p:strVal val="#ppt_h"/>
                                          </p:val>
                                        </p:tav>
                                      </p:tavLst>
                                    </p:anim>
                                  </p:childTnLst>
                                </p:cTn>
                              </p:par>
                            </p:childTnLst>
                          </p:cTn>
                        </p:par>
                        <p:par>
                          <p:cTn id="22" fill="hold">
                            <p:stCondLst>
                              <p:cond delay="1899"/>
                            </p:stCondLst>
                            <p:childTnLst>
                              <p:par>
                                <p:cTn id="23" presetID="14" presetClass="entr" presetSubtype="10"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randombar(horizontal)">
                                      <p:cBhvr>
                                        <p:cTn id="25" dur="250"/>
                                        <p:tgtEl>
                                          <p:spTgt spid="16"/>
                                        </p:tgtEl>
                                      </p:cBhvr>
                                    </p:animEffect>
                                  </p:childTnLst>
                                </p:cTn>
                              </p:par>
                            </p:childTnLst>
                          </p:cTn>
                        </p:par>
                        <p:par>
                          <p:cTn id="26" fill="hold">
                            <p:stCondLst>
                              <p:cond delay="2399"/>
                            </p:stCondLst>
                            <p:childTnLst>
                              <p:par>
                                <p:cTn id="27" presetID="49" presetClass="entr" presetSubtype="0" decel="10000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 calcmode="lin" valueType="num">
                                      <p:cBhvr>
                                        <p:cTn id="31" dur="500" fill="hold"/>
                                        <p:tgtEl>
                                          <p:spTgt spid="17"/>
                                        </p:tgtEl>
                                        <p:attrNameLst>
                                          <p:attrName>style.rotation</p:attrName>
                                        </p:attrNameLst>
                                      </p:cBhvr>
                                      <p:tavLst>
                                        <p:tav tm="0">
                                          <p:val>
                                            <p:fltVal val="360"/>
                                          </p:val>
                                        </p:tav>
                                        <p:tav tm="100000">
                                          <p:val>
                                            <p:fltVal val="0"/>
                                          </p:val>
                                        </p:tav>
                                      </p:tavLst>
                                    </p:anim>
                                    <p:animEffect transition="in" filter="fade">
                                      <p:cBhvr>
                                        <p:cTn id="32" dur="500"/>
                                        <p:tgtEl>
                                          <p:spTgt spid="17"/>
                                        </p:tgtEl>
                                      </p:cBhvr>
                                    </p:animEffect>
                                  </p:childTnLst>
                                </p:cTn>
                              </p:par>
                            </p:childTnLst>
                          </p:cTn>
                        </p:par>
                        <p:par>
                          <p:cTn id="33" fill="hold">
                            <p:stCondLst>
                              <p:cond delay="2899"/>
                            </p:stCondLst>
                            <p:childTnLst>
                              <p:par>
                                <p:cTn id="34" presetID="23" presetClass="entr" presetSubtype="16" fill="hold" grpId="0" nodeType="afterEffect">
                                  <p:stCondLst>
                                    <p:cond delay="0"/>
                                  </p:stCondLst>
                                  <p:iterate type="lt">
                                    <p:tmPct val="10000"/>
                                  </p:iterate>
                                  <p:childTnLst>
                                    <p:set>
                                      <p:cBhvr>
                                        <p:cTn id="35" dur="1" fill="hold">
                                          <p:stCondLst>
                                            <p:cond delay="0"/>
                                          </p:stCondLst>
                                        </p:cTn>
                                        <p:tgtEl>
                                          <p:spTgt spid="48"/>
                                        </p:tgtEl>
                                        <p:attrNameLst>
                                          <p:attrName>style.visibility</p:attrName>
                                        </p:attrNameLst>
                                      </p:cBhvr>
                                      <p:to>
                                        <p:strVal val="visible"/>
                                      </p:to>
                                    </p:set>
                                    <p:anim calcmode="lin" valueType="num">
                                      <p:cBhvr>
                                        <p:cTn id="36" dur="250" fill="hold"/>
                                        <p:tgtEl>
                                          <p:spTgt spid="48"/>
                                        </p:tgtEl>
                                        <p:attrNameLst>
                                          <p:attrName>ppt_w</p:attrName>
                                        </p:attrNameLst>
                                      </p:cBhvr>
                                      <p:tavLst>
                                        <p:tav tm="0">
                                          <p:val>
                                            <p:fltVal val="0"/>
                                          </p:val>
                                        </p:tav>
                                        <p:tav tm="100000">
                                          <p:val>
                                            <p:strVal val="#ppt_w"/>
                                          </p:val>
                                        </p:tav>
                                      </p:tavLst>
                                    </p:anim>
                                    <p:anim calcmode="lin" valueType="num">
                                      <p:cBhvr>
                                        <p:cTn id="37" dur="250" fill="hold"/>
                                        <p:tgtEl>
                                          <p:spTgt spid="48"/>
                                        </p:tgtEl>
                                        <p:attrNameLst>
                                          <p:attrName>ppt_h</p:attrName>
                                        </p:attrNameLst>
                                      </p:cBhvr>
                                      <p:tavLst>
                                        <p:tav tm="0">
                                          <p:val>
                                            <p:fltVal val="0"/>
                                          </p:val>
                                        </p:tav>
                                        <p:tav tm="100000">
                                          <p:val>
                                            <p:strVal val="#ppt_h"/>
                                          </p:val>
                                        </p:tav>
                                      </p:tavLst>
                                    </p:anim>
                                  </p:childTnLst>
                                </p:cTn>
                              </p:par>
                            </p:childTnLst>
                          </p:cTn>
                        </p:par>
                        <p:par>
                          <p:cTn id="38" fill="hold">
                            <p:stCondLst>
                              <p:cond delay="3049"/>
                            </p:stCondLst>
                            <p:childTnLst>
                              <p:par>
                                <p:cTn id="39" presetID="14" presetClass="entr" presetSubtype="10" fill="hold" grpId="0" nodeType="after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randombar(horizontal)">
                                      <p:cBhvr>
                                        <p:cTn id="41" dur="250"/>
                                        <p:tgtEl>
                                          <p:spTgt spid="49"/>
                                        </p:tgtEl>
                                      </p:cBhvr>
                                    </p:animEffect>
                                  </p:childTnLst>
                                </p:cTn>
                              </p:par>
                            </p:childTnLst>
                          </p:cTn>
                        </p:par>
                        <p:par>
                          <p:cTn id="42" fill="hold">
                            <p:stCondLst>
                              <p:cond delay="3549"/>
                            </p:stCondLst>
                            <p:childTnLst>
                              <p:par>
                                <p:cTn id="43" presetID="49" presetClass="entr" presetSubtype="0" decel="100000"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 calcmode="lin" valueType="num">
                                      <p:cBhvr>
                                        <p:cTn id="45" dur="500" fill="hold"/>
                                        <p:tgtEl>
                                          <p:spTgt spid="41"/>
                                        </p:tgtEl>
                                        <p:attrNameLst>
                                          <p:attrName>ppt_w</p:attrName>
                                        </p:attrNameLst>
                                      </p:cBhvr>
                                      <p:tavLst>
                                        <p:tav tm="0">
                                          <p:val>
                                            <p:fltVal val="0"/>
                                          </p:val>
                                        </p:tav>
                                        <p:tav tm="100000">
                                          <p:val>
                                            <p:strVal val="#ppt_w"/>
                                          </p:val>
                                        </p:tav>
                                      </p:tavLst>
                                    </p:anim>
                                    <p:anim calcmode="lin" valueType="num">
                                      <p:cBhvr>
                                        <p:cTn id="46" dur="500" fill="hold"/>
                                        <p:tgtEl>
                                          <p:spTgt spid="41"/>
                                        </p:tgtEl>
                                        <p:attrNameLst>
                                          <p:attrName>ppt_h</p:attrName>
                                        </p:attrNameLst>
                                      </p:cBhvr>
                                      <p:tavLst>
                                        <p:tav tm="0">
                                          <p:val>
                                            <p:fltVal val="0"/>
                                          </p:val>
                                        </p:tav>
                                        <p:tav tm="100000">
                                          <p:val>
                                            <p:strVal val="#ppt_h"/>
                                          </p:val>
                                        </p:tav>
                                      </p:tavLst>
                                    </p:anim>
                                    <p:anim calcmode="lin" valueType="num">
                                      <p:cBhvr>
                                        <p:cTn id="47" dur="500" fill="hold"/>
                                        <p:tgtEl>
                                          <p:spTgt spid="41"/>
                                        </p:tgtEl>
                                        <p:attrNameLst>
                                          <p:attrName>style.rotation</p:attrName>
                                        </p:attrNameLst>
                                      </p:cBhvr>
                                      <p:tavLst>
                                        <p:tav tm="0">
                                          <p:val>
                                            <p:fltVal val="360"/>
                                          </p:val>
                                        </p:tav>
                                        <p:tav tm="100000">
                                          <p:val>
                                            <p:fltVal val="0"/>
                                          </p:val>
                                        </p:tav>
                                      </p:tavLst>
                                    </p:anim>
                                    <p:animEffect transition="in" filter="fade">
                                      <p:cBhvr>
                                        <p:cTn id="48" dur="500"/>
                                        <p:tgtEl>
                                          <p:spTgt spid="41"/>
                                        </p:tgtEl>
                                      </p:cBhvr>
                                    </p:animEffect>
                                  </p:childTnLst>
                                </p:cTn>
                              </p:par>
                            </p:childTnLst>
                          </p:cTn>
                        </p:par>
                        <p:par>
                          <p:cTn id="49" fill="hold">
                            <p:stCondLst>
                              <p:cond delay="4049"/>
                            </p:stCondLst>
                            <p:childTnLst>
                              <p:par>
                                <p:cTn id="50" presetID="23" presetClass="entr" presetSubtype="16" fill="hold" grpId="0" nodeType="afterEffect">
                                  <p:stCondLst>
                                    <p:cond delay="0"/>
                                  </p:stCondLst>
                                  <p:iterate type="lt">
                                    <p:tmPct val="10000"/>
                                  </p:iterate>
                                  <p:childTnLst>
                                    <p:set>
                                      <p:cBhvr>
                                        <p:cTn id="51" dur="1" fill="hold">
                                          <p:stCondLst>
                                            <p:cond delay="0"/>
                                          </p:stCondLst>
                                        </p:cTn>
                                        <p:tgtEl>
                                          <p:spTgt spid="50"/>
                                        </p:tgtEl>
                                        <p:attrNameLst>
                                          <p:attrName>style.visibility</p:attrName>
                                        </p:attrNameLst>
                                      </p:cBhvr>
                                      <p:to>
                                        <p:strVal val="visible"/>
                                      </p:to>
                                    </p:set>
                                    <p:anim calcmode="lin" valueType="num">
                                      <p:cBhvr>
                                        <p:cTn id="52" dur="250" fill="hold"/>
                                        <p:tgtEl>
                                          <p:spTgt spid="50"/>
                                        </p:tgtEl>
                                        <p:attrNameLst>
                                          <p:attrName>ppt_w</p:attrName>
                                        </p:attrNameLst>
                                      </p:cBhvr>
                                      <p:tavLst>
                                        <p:tav tm="0">
                                          <p:val>
                                            <p:fltVal val="0"/>
                                          </p:val>
                                        </p:tav>
                                        <p:tav tm="100000">
                                          <p:val>
                                            <p:strVal val="#ppt_w"/>
                                          </p:val>
                                        </p:tav>
                                      </p:tavLst>
                                    </p:anim>
                                    <p:anim calcmode="lin" valueType="num">
                                      <p:cBhvr>
                                        <p:cTn id="53" dur="250" fill="hold"/>
                                        <p:tgtEl>
                                          <p:spTgt spid="50"/>
                                        </p:tgtEl>
                                        <p:attrNameLst>
                                          <p:attrName>ppt_h</p:attrName>
                                        </p:attrNameLst>
                                      </p:cBhvr>
                                      <p:tavLst>
                                        <p:tav tm="0">
                                          <p:val>
                                            <p:fltVal val="0"/>
                                          </p:val>
                                        </p:tav>
                                        <p:tav tm="100000">
                                          <p:val>
                                            <p:strVal val="#ppt_h"/>
                                          </p:val>
                                        </p:tav>
                                      </p:tavLst>
                                    </p:anim>
                                  </p:childTnLst>
                                </p:cTn>
                              </p:par>
                            </p:childTnLst>
                          </p:cTn>
                        </p:par>
                        <p:par>
                          <p:cTn id="54" fill="hold">
                            <p:stCondLst>
                              <p:cond delay="4199"/>
                            </p:stCondLst>
                            <p:childTnLst>
                              <p:par>
                                <p:cTn id="55" presetID="14" presetClass="entr" presetSubtype="10" fill="hold" grpId="0" nodeType="after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randombar(horizontal)">
                                      <p:cBhvr>
                                        <p:cTn id="57"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48" grpId="0"/>
      <p:bldP spid="49" grpId="0"/>
      <p:bldP spid="50" grpId="0"/>
      <p:bldP spid="51"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2" name="文本框 3"/>
          <p:cNvSpPr txBox="1"/>
          <p:nvPr/>
        </p:nvSpPr>
        <p:spPr>
          <a:xfrm>
            <a:off x="3745391" y="1140701"/>
            <a:ext cx="1693521" cy="635239"/>
          </a:xfrm>
          <a:prstGeom prst="rect">
            <a:avLst/>
          </a:prstGeom>
          <a:noFill/>
          <a:effectLst/>
        </p:spPr>
        <p:txBody>
          <a:bodyPr wrap="square" rtlCol="0">
            <a:spAutoFit/>
          </a:bodyPr>
          <a:lstStyle/>
          <a:p>
            <a:r>
              <a:rPr lang="zh-CN" altLang="en-US" sz="3530" dirty="0">
                <a:solidFill>
                  <a:srgbClr val="206DC1"/>
                </a:solidFill>
                <a:latin typeface="微软雅黑" panose="020B0503020204020204" pitchFamily="34" charset="-122"/>
                <a:ea typeface="微软雅黑" panose="020B0503020204020204" pitchFamily="34" charset="-122"/>
              </a:rPr>
              <a:t>前言</a:t>
            </a:r>
          </a:p>
        </p:txBody>
      </p:sp>
      <p:sp>
        <p:nvSpPr>
          <p:cNvPr id="43" name="TextBox 18"/>
          <p:cNvSpPr>
            <a:spLocks noChangeArrowheads="1"/>
          </p:cNvSpPr>
          <p:nvPr/>
        </p:nvSpPr>
        <p:spPr bwMode="auto">
          <a:xfrm>
            <a:off x="3745685" y="1844027"/>
            <a:ext cx="4405740" cy="2563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在此处添加您的文本内容，语言尽可能精炼，可根据实际情况调整文本框大小，或者字体的大小。 </a:t>
            </a:r>
            <a:endParaRPr lang="en-US" altLang="zh-CN"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在此处添加您的文本内容，语言尽可能精炼，可根据实际情况调整文本框大小，或者字体的大小。 </a:t>
            </a:r>
            <a:endParaRPr lang="en-US" altLang="zh-CN"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a:t>
            </a:r>
            <a:endParaRPr lang="en-US" altLang="zh-CN" sz="1030"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44" name="直接连接符 43"/>
          <p:cNvCxnSpPr/>
          <p:nvPr/>
        </p:nvCxnSpPr>
        <p:spPr>
          <a:xfrm>
            <a:off x="3811776" y="1751444"/>
            <a:ext cx="42867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8"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875">
        <p15:prstTrans prst="airplane"/>
      </p:transition>
    </mc:Choice>
    <mc:Fallback xmlns="">
      <p:transition spd="slow" advClick="0" advTm="587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500"/>
                                        <p:tgtEl>
                                          <p:spTgt spid="44"/>
                                        </p:tgtEl>
                                      </p:cBhvr>
                                    </p:animEffect>
                                  </p:childTnLst>
                                </p:cTn>
                              </p:par>
                            </p:childTnLst>
                          </p:cTn>
                        </p:par>
                        <p:par>
                          <p:cTn id="8" fill="hold">
                            <p:stCondLst>
                              <p:cond delay="500"/>
                            </p:stCondLst>
                            <p:childTnLst>
                              <p:par>
                                <p:cTn id="9" presetID="23" presetClass="entr" presetSubtype="528" fill="hold" grpId="0" nodeType="afterEffect">
                                  <p:stCondLst>
                                    <p:cond delay="0"/>
                                  </p:stCondLst>
                                  <p:iterate type="lt">
                                    <p:tmPct val="10000"/>
                                  </p:iterate>
                                  <p:childTnLst>
                                    <p:set>
                                      <p:cBhvr>
                                        <p:cTn id="10" dur="1" fill="hold">
                                          <p:stCondLst>
                                            <p:cond delay="0"/>
                                          </p:stCondLst>
                                        </p:cTn>
                                        <p:tgtEl>
                                          <p:spTgt spid="42"/>
                                        </p:tgtEl>
                                        <p:attrNameLst>
                                          <p:attrName>style.visibility</p:attrName>
                                        </p:attrNameLst>
                                      </p:cBhvr>
                                      <p:to>
                                        <p:strVal val="visible"/>
                                      </p:to>
                                    </p:set>
                                    <p:anim calcmode="lin" valueType="num">
                                      <p:cBhvr>
                                        <p:cTn id="11" dur="500" fill="hold"/>
                                        <p:tgtEl>
                                          <p:spTgt spid="42"/>
                                        </p:tgtEl>
                                        <p:attrNameLst>
                                          <p:attrName>ppt_w</p:attrName>
                                        </p:attrNameLst>
                                      </p:cBhvr>
                                      <p:tavLst>
                                        <p:tav tm="0">
                                          <p:val>
                                            <p:fltVal val="0"/>
                                          </p:val>
                                        </p:tav>
                                        <p:tav tm="100000">
                                          <p:val>
                                            <p:strVal val="#ppt_w"/>
                                          </p:val>
                                        </p:tav>
                                      </p:tavLst>
                                    </p:anim>
                                    <p:anim calcmode="lin" valueType="num">
                                      <p:cBhvr>
                                        <p:cTn id="12" dur="500" fill="hold"/>
                                        <p:tgtEl>
                                          <p:spTgt spid="42"/>
                                        </p:tgtEl>
                                        <p:attrNameLst>
                                          <p:attrName>ppt_h</p:attrName>
                                        </p:attrNameLst>
                                      </p:cBhvr>
                                      <p:tavLst>
                                        <p:tav tm="0">
                                          <p:val>
                                            <p:fltVal val="0"/>
                                          </p:val>
                                        </p:tav>
                                        <p:tav tm="100000">
                                          <p:val>
                                            <p:strVal val="#ppt_h"/>
                                          </p:val>
                                        </p:tav>
                                      </p:tavLst>
                                    </p:anim>
                                    <p:anim calcmode="lin" valueType="num">
                                      <p:cBhvr>
                                        <p:cTn id="13" dur="500" fill="hold"/>
                                        <p:tgtEl>
                                          <p:spTgt spid="42"/>
                                        </p:tgtEl>
                                        <p:attrNameLst>
                                          <p:attrName>ppt_x</p:attrName>
                                        </p:attrNameLst>
                                      </p:cBhvr>
                                      <p:tavLst>
                                        <p:tav tm="0">
                                          <p:val>
                                            <p:fltVal val="0.5"/>
                                          </p:val>
                                        </p:tav>
                                        <p:tav tm="100000">
                                          <p:val>
                                            <p:strVal val="#ppt_x"/>
                                          </p:val>
                                        </p:tav>
                                      </p:tavLst>
                                    </p:anim>
                                    <p:anim calcmode="lin" valueType="num">
                                      <p:cBhvr>
                                        <p:cTn id="14" dur="500" fill="hold"/>
                                        <p:tgtEl>
                                          <p:spTgt spid="42"/>
                                        </p:tgtEl>
                                        <p:attrNameLst>
                                          <p:attrName>ppt_y</p:attrName>
                                        </p:attrNameLst>
                                      </p:cBhvr>
                                      <p:tavLst>
                                        <p:tav tm="0">
                                          <p:val>
                                            <p:fltVal val="0.5"/>
                                          </p:val>
                                        </p:tav>
                                        <p:tav tm="100000">
                                          <p:val>
                                            <p:strVal val="#ppt_y"/>
                                          </p:val>
                                        </p:tav>
                                      </p:tavLst>
                                    </p:anim>
                                  </p:childTnLst>
                                </p:cTn>
                              </p:par>
                            </p:childTnLst>
                          </p:cTn>
                        </p:par>
                        <p:par>
                          <p:cTn id="15" fill="hold">
                            <p:stCondLst>
                              <p:cond delay="1049"/>
                            </p:stCondLst>
                            <p:childTnLst>
                              <p:par>
                                <p:cTn id="16" presetID="12" presetClass="entr" presetSubtype="4" fill="hold" grpId="0" nodeType="afterEffect">
                                  <p:stCondLst>
                                    <p:cond delay="0"/>
                                  </p:stCondLst>
                                  <p:childTnLst>
                                    <p:set>
                                      <p:cBhvr>
                                        <p:cTn id="17" dur="1" fill="hold">
                                          <p:stCondLst>
                                            <p:cond delay="0"/>
                                          </p:stCondLst>
                                        </p:cTn>
                                        <p:tgtEl>
                                          <p:spTgt spid="43"/>
                                        </p:tgtEl>
                                        <p:attrNameLst>
                                          <p:attrName>style.visibility</p:attrName>
                                        </p:attrNameLst>
                                      </p:cBhvr>
                                      <p:to>
                                        <p:strVal val="visible"/>
                                      </p:to>
                                    </p:set>
                                    <p:anim calcmode="lin" valueType="num">
                                      <p:cBhvr additive="base">
                                        <p:cTn id="18" dur="500"/>
                                        <p:tgtEl>
                                          <p:spTgt spid="43"/>
                                        </p:tgtEl>
                                        <p:attrNameLst>
                                          <p:attrName>ppt_y</p:attrName>
                                        </p:attrNameLst>
                                      </p:cBhvr>
                                      <p:tavLst>
                                        <p:tav tm="0">
                                          <p:val>
                                            <p:strVal val="#ppt_y+#ppt_h*1.125000"/>
                                          </p:val>
                                        </p:tav>
                                        <p:tav tm="100000">
                                          <p:val>
                                            <p:strVal val="#ppt_y"/>
                                          </p:val>
                                        </p:tav>
                                      </p:tavLst>
                                    </p:anim>
                                    <p:animEffect transition="in" filter="wipe(up)">
                                      <p:cBhvr>
                                        <p:cTn id="1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6"/>
          <p:cNvSpPr/>
          <p:nvPr/>
        </p:nvSpPr>
        <p:spPr bwMode="auto">
          <a:xfrm>
            <a:off x="1932960" y="1213438"/>
            <a:ext cx="1164296" cy="1072016"/>
          </a:xfrm>
          <a:custGeom>
            <a:avLst/>
            <a:gdLst>
              <a:gd name="T0" fmla="*/ 593 w 593"/>
              <a:gd name="T1" fmla="*/ 248 h 546"/>
              <a:gd name="T2" fmla="*/ 295 w 593"/>
              <a:gd name="T3" fmla="*/ 546 h 546"/>
              <a:gd name="T4" fmla="*/ 0 w 593"/>
              <a:gd name="T5" fmla="*/ 248 h 546"/>
              <a:gd name="T6" fmla="*/ 0 w 593"/>
              <a:gd name="T7" fmla="*/ 0 h 546"/>
              <a:gd name="T8" fmla="*/ 295 w 593"/>
              <a:gd name="T9" fmla="*/ 298 h 546"/>
              <a:gd name="T10" fmla="*/ 593 w 593"/>
              <a:gd name="T11" fmla="*/ 0 h 546"/>
              <a:gd name="T12" fmla="*/ 593 w 593"/>
              <a:gd name="T13" fmla="*/ 248 h 546"/>
            </a:gdLst>
            <a:ahLst/>
            <a:cxnLst>
              <a:cxn ang="0">
                <a:pos x="T0" y="T1"/>
              </a:cxn>
              <a:cxn ang="0">
                <a:pos x="T2" y="T3"/>
              </a:cxn>
              <a:cxn ang="0">
                <a:pos x="T4" y="T5"/>
              </a:cxn>
              <a:cxn ang="0">
                <a:pos x="T6" y="T7"/>
              </a:cxn>
              <a:cxn ang="0">
                <a:pos x="T8" y="T9"/>
              </a:cxn>
              <a:cxn ang="0">
                <a:pos x="T10" y="T11"/>
              </a:cxn>
              <a:cxn ang="0">
                <a:pos x="T12" y="T13"/>
              </a:cxn>
            </a:cxnLst>
            <a:rect l="0" t="0" r="r" b="b"/>
            <a:pathLst>
              <a:path w="593" h="546">
                <a:moveTo>
                  <a:pt x="593" y="248"/>
                </a:moveTo>
                <a:lnTo>
                  <a:pt x="295" y="546"/>
                </a:lnTo>
                <a:lnTo>
                  <a:pt x="0" y="248"/>
                </a:lnTo>
                <a:lnTo>
                  <a:pt x="0" y="0"/>
                </a:lnTo>
                <a:lnTo>
                  <a:pt x="295" y="298"/>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19" name="Freeform 7"/>
          <p:cNvSpPr/>
          <p:nvPr/>
        </p:nvSpPr>
        <p:spPr bwMode="auto">
          <a:xfrm>
            <a:off x="1932960" y="2477777"/>
            <a:ext cx="1164296" cy="1070053"/>
          </a:xfrm>
          <a:custGeom>
            <a:avLst/>
            <a:gdLst>
              <a:gd name="T0" fmla="*/ 593 w 593"/>
              <a:gd name="T1" fmla="*/ 248 h 545"/>
              <a:gd name="T2" fmla="*/ 295 w 593"/>
              <a:gd name="T3" fmla="*/ 545 h 545"/>
              <a:gd name="T4" fmla="*/ 0 w 593"/>
              <a:gd name="T5" fmla="*/ 248 h 545"/>
              <a:gd name="T6" fmla="*/ 0 w 593"/>
              <a:gd name="T7" fmla="*/ 0 h 545"/>
              <a:gd name="T8" fmla="*/ 295 w 593"/>
              <a:gd name="T9" fmla="*/ 297 h 545"/>
              <a:gd name="T10" fmla="*/ 593 w 593"/>
              <a:gd name="T11" fmla="*/ 0 h 545"/>
              <a:gd name="T12" fmla="*/ 593 w 593"/>
              <a:gd name="T13" fmla="*/ 248 h 545"/>
            </a:gdLst>
            <a:ahLst/>
            <a:cxnLst>
              <a:cxn ang="0">
                <a:pos x="T0" y="T1"/>
              </a:cxn>
              <a:cxn ang="0">
                <a:pos x="T2" y="T3"/>
              </a:cxn>
              <a:cxn ang="0">
                <a:pos x="T4" y="T5"/>
              </a:cxn>
              <a:cxn ang="0">
                <a:pos x="T6" y="T7"/>
              </a:cxn>
              <a:cxn ang="0">
                <a:pos x="T8" y="T9"/>
              </a:cxn>
              <a:cxn ang="0">
                <a:pos x="T10" y="T11"/>
              </a:cxn>
              <a:cxn ang="0">
                <a:pos x="T12" y="T13"/>
              </a:cxn>
            </a:cxnLst>
            <a:rect l="0" t="0" r="r" b="b"/>
            <a:pathLst>
              <a:path w="593" h="545">
                <a:moveTo>
                  <a:pt x="593" y="248"/>
                </a:moveTo>
                <a:lnTo>
                  <a:pt x="295" y="545"/>
                </a:lnTo>
                <a:lnTo>
                  <a:pt x="0" y="248"/>
                </a:lnTo>
                <a:lnTo>
                  <a:pt x="0" y="0"/>
                </a:lnTo>
                <a:lnTo>
                  <a:pt x="295" y="297"/>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0" name="Freeform 8"/>
          <p:cNvSpPr/>
          <p:nvPr/>
        </p:nvSpPr>
        <p:spPr bwMode="auto">
          <a:xfrm>
            <a:off x="1932960" y="3740155"/>
            <a:ext cx="1164296" cy="1072016"/>
          </a:xfrm>
          <a:custGeom>
            <a:avLst/>
            <a:gdLst>
              <a:gd name="T0" fmla="*/ 593 w 593"/>
              <a:gd name="T1" fmla="*/ 248 h 546"/>
              <a:gd name="T2" fmla="*/ 295 w 593"/>
              <a:gd name="T3" fmla="*/ 546 h 546"/>
              <a:gd name="T4" fmla="*/ 0 w 593"/>
              <a:gd name="T5" fmla="*/ 248 h 546"/>
              <a:gd name="T6" fmla="*/ 0 w 593"/>
              <a:gd name="T7" fmla="*/ 0 h 546"/>
              <a:gd name="T8" fmla="*/ 295 w 593"/>
              <a:gd name="T9" fmla="*/ 298 h 546"/>
              <a:gd name="T10" fmla="*/ 593 w 593"/>
              <a:gd name="T11" fmla="*/ 0 h 546"/>
              <a:gd name="T12" fmla="*/ 593 w 593"/>
              <a:gd name="T13" fmla="*/ 248 h 546"/>
            </a:gdLst>
            <a:ahLst/>
            <a:cxnLst>
              <a:cxn ang="0">
                <a:pos x="T0" y="T1"/>
              </a:cxn>
              <a:cxn ang="0">
                <a:pos x="T2" y="T3"/>
              </a:cxn>
              <a:cxn ang="0">
                <a:pos x="T4" y="T5"/>
              </a:cxn>
              <a:cxn ang="0">
                <a:pos x="T6" y="T7"/>
              </a:cxn>
              <a:cxn ang="0">
                <a:pos x="T8" y="T9"/>
              </a:cxn>
              <a:cxn ang="0">
                <a:pos x="T10" y="T11"/>
              </a:cxn>
              <a:cxn ang="0">
                <a:pos x="T12" y="T13"/>
              </a:cxn>
            </a:cxnLst>
            <a:rect l="0" t="0" r="r" b="b"/>
            <a:pathLst>
              <a:path w="593" h="546">
                <a:moveTo>
                  <a:pt x="593" y="248"/>
                </a:moveTo>
                <a:lnTo>
                  <a:pt x="295" y="546"/>
                </a:lnTo>
                <a:lnTo>
                  <a:pt x="0" y="248"/>
                </a:lnTo>
                <a:lnTo>
                  <a:pt x="0" y="0"/>
                </a:lnTo>
                <a:lnTo>
                  <a:pt x="295" y="298"/>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1" name="Freeform 13"/>
          <p:cNvSpPr/>
          <p:nvPr/>
        </p:nvSpPr>
        <p:spPr bwMode="auto">
          <a:xfrm>
            <a:off x="2262953" y="2483468"/>
            <a:ext cx="504314" cy="317646"/>
          </a:xfrm>
          <a:custGeom>
            <a:avLst/>
            <a:gdLst/>
            <a:ahLst/>
            <a:cxnLst/>
            <a:rect l="l" t="t" r="r" b="b"/>
            <a:pathLst>
              <a:path w="686185" h="432198">
                <a:moveTo>
                  <a:pt x="101600" y="338535"/>
                </a:moveTo>
                <a:lnTo>
                  <a:pt x="101600" y="432198"/>
                </a:lnTo>
                <a:lnTo>
                  <a:pt x="30163" y="432198"/>
                </a:lnTo>
                <a:lnTo>
                  <a:pt x="30163" y="402036"/>
                </a:lnTo>
                <a:close/>
                <a:moveTo>
                  <a:pt x="206375" y="236935"/>
                </a:moveTo>
                <a:lnTo>
                  <a:pt x="206375" y="432198"/>
                </a:lnTo>
                <a:lnTo>
                  <a:pt x="134938" y="432198"/>
                </a:lnTo>
                <a:lnTo>
                  <a:pt x="134938" y="305198"/>
                </a:lnTo>
                <a:close/>
                <a:moveTo>
                  <a:pt x="520700" y="187723"/>
                </a:moveTo>
                <a:lnTo>
                  <a:pt x="520700" y="432198"/>
                </a:lnTo>
                <a:lnTo>
                  <a:pt x="446088" y="432198"/>
                </a:lnTo>
                <a:lnTo>
                  <a:pt x="446088" y="255986"/>
                </a:lnTo>
                <a:close/>
                <a:moveTo>
                  <a:pt x="341313" y="176610"/>
                </a:moveTo>
                <a:lnTo>
                  <a:pt x="363538" y="198835"/>
                </a:lnTo>
                <a:lnTo>
                  <a:pt x="415925" y="255985"/>
                </a:lnTo>
                <a:lnTo>
                  <a:pt x="415925" y="432198"/>
                </a:lnTo>
                <a:lnTo>
                  <a:pt x="363538" y="432198"/>
                </a:lnTo>
                <a:lnTo>
                  <a:pt x="341313" y="432198"/>
                </a:lnTo>
                <a:close/>
                <a:moveTo>
                  <a:pt x="311150" y="140098"/>
                </a:moveTo>
                <a:lnTo>
                  <a:pt x="311150" y="143273"/>
                </a:lnTo>
                <a:lnTo>
                  <a:pt x="311150" y="432198"/>
                </a:lnTo>
                <a:lnTo>
                  <a:pt x="239713" y="432198"/>
                </a:lnTo>
                <a:lnTo>
                  <a:pt x="239713" y="206773"/>
                </a:lnTo>
                <a:close/>
                <a:moveTo>
                  <a:pt x="625475" y="90885"/>
                </a:moveTo>
                <a:lnTo>
                  <a:pt x="625475" y="432198"/>
                </a:lnTo>
                <a:lnTo>
                  <a:pt x="550863" y="432198"/>
                </a:lnTo>
                <a:lnTo>
                  <a:pt x="550863" y="157560"/>
                </a:lnTo>
                <a:close/>
                <a:moveTo>
                  <a:pt x="666509" y="976"/>
                </a:moveTo>
                <a:cubicBezTo>
                  <a:pt x="681486" y="-2777"/>
                  <a:pt x="688975" y="4730"/>
                  <a:pt x="685231" y="15991"/>
                </a:cubicBezTo>
                <a:cubicBezTo>
                  <a:pt x="681486" y="31005"/>
                  <a:pt x="677742" y="49774"/>
                  <a:pt x="673998" y="61034"/>
                </a:cubicBezTo>
                <a:lnTo>
                  <a:pt x="670253" y="64788"/>
                </a:lnTo>
                <a:cubicBezTo>
                  <a:pt x="666509" y="76049"/>
                  <a:pt x="659020" y="79803"/>
                  <a:pt x="651531" y="68542"/>
                </a:cubicBezTo>
                <a:cubicBezTo>
                  <a:pt x="644042" y="64788"/>
                  <a:pt x="640298" y="61034"/>
                  <a:pt x="640298" y="57281"/>
                </a:cubicBezTo>
                <a:cubicBezTo>
                  <a:pt x="640287" y="57291"/>
                  <a:pt x="638821" y="58656"/>
                  <a:pt x="430610" y="252470"/>
                </a:cubicBezTo>
                <a:cubicBezTo>
                  <a:pt x="430599" y="252458"/>
                  <a:pt x="429766" y="251578"/>
                  <a:pt x="363210" y="181151"/>
                </a:cubicBezTo>
                <a:cubicBezTo>
                  <a:pt x="363202" y="181142"/>
                  <a:pt x="362552" y="180444"/>
                  <a:pt x="310787" y="124846"/>
                </a:cubicBezTo>
                <a:cubicBezTo>
                  <a:pt x="310773" y="124860"/>
                  <a:pt x="308720" y="126761"/>
                  <a:pt x="14977" y="398861"/>
                </a:cubicBezTo>
                <a:cubicBezTo>
                  <a:pt x="14973" y="398858"/>
                  <a:pt x="14886" y="398792"/>
                  <a:pt x="13105" y="397454"/>
                </a:cubicBezTo>
                <a:lnTo>
                  <a:pt x="0" y="387600"/>
                </a:lnTo>
                <a:cubicBezTo>
                  <a:pt x="15" y="387586"/>
                  <a:pt x="2181" y="385572"/>
                  <a:pt x="310787" y="98571"/>
                </a:cubicBezTo>
                <a:cubicBezTo>
                  <a:pt x="310796" y="98580"/>
                  <a:pt x="311449" y="99281"/>
                  <a:pt x="363210" y="154875"/>
                </a:cubicBezTo>
                <a:cubicBezTo>
                  <a:pt x="363221" y="154887"/>
                  <a:pt x="364066" y="155781"/>
                  <a:pt x="430610" y="226194"/>
                </a:cubicBezTo>
                <a:cubicBezTo>
                  <a:pt x="430620" y="226185"/>
                  <a:pt x="432012" y="224897"/>
                  <a:pt x="625320" y="46020"/>
                </a:cubicBezTo>
                <a:cubicBezTo>
                  <a:pt x="621576" y="42266"/>
                  <a:pt x="621576" y="38513"/>
                  <a:pt x="617831" y="34759"/>
                </a:cubicBezTo>
                <a:lnTo>
                  <a:pt x="614087" y="31005"/>
                </a:lnTo>
                <a:cubicBezTo>
                  <a:pt x="606598" y="23498"/>
                  <a:pt x="610342" y="15991"/>
                  <a:pt x="621576" y="12237"/>
                </a:cubicBezTo>
                <a:cubicBezTo>
                  <a:pt x="636553" y="8484"/>
                  <a:pt x="655275" y="4730"/>
                  <a:pt x="666509" y="976"/>
                </a:cubicBez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2" name="Freeform 20"/>
          <p:cNvSpPr/>
          <p:nvPr/>
        </p:nvSpPr>
        <p:spPr bwMode="auto">
          <a:xfrm>
            <a:off x="2359962" y="1213437"/>
            <a:ext cx="310293" cy="364023"/>
          </a:xfrm>
          <a:custGeom>
            <a:avLst/>
            <a:gdLst/>
            <a:ahLst/>
            <a:cxnLst/>
            <a:rect l="l" t="t" r="r" b="b"/>
            <a:pathLst>
              <a:path w="422194" h="495300">
                <a:moveTo>
                  <a:pt x="221309" y="211137"/>
                </a:moveTo>
                <a:cubicBezTo>
                  <a:pt x="228811" y="211137"/>
                  <a:pt x="236313" y="218615"/>
                  <a:pt x="236313" y="226093"/>
                </a:cubicBezTo>
                <a:cubicBezTo>
                  <a:pt x="236313" y="229832"/>
                  <a:pt x="236313" y="233571"/>
                  <a:pt x="232562" y="237310"/>
                </a:cubicBezTo>
                <a:cubicBezTo>
                  <a:pt x="232562" y="237310"/>
                  <a:pt x="232562" y="237310"/>
                  <a:pt x="243815" y="349480"/>
                </a:cubicBezTo>
                <a:cubicBezTo>
                  <a:pt x="243815" y="349480"/>
                  <a:pt x="243815" y="349480"/>
                  <a:pt x="221309" y="409304"/>
                </a:cubicBezTo>
                <a:cubicBezTo>
                  <a:pt x="221309" y="409304"/>
                  <a:pt x="221309" y="409304"/>
                  <a:pt x="262570" y="304612"/>
                </a:cubicBezTo>
                <a:cubicBezTo>
                  <a:pt x="262570" y="304612"/>
                  <a:pt x="262570" y="304612"/>
                  <a:pt x="300080" y="214876"/>
                </a:cubicBezTo>
                <a:cubicBezTo>
                  <a:pt x="300080" y="214876"/>
                  <a:pt x="300080" y="214876"/>
                  <a:pt x="333838" y="214876"/>
                </a:cubicBezTo>
                <a:cubicBezTo>
                  <a:pt x="352593" y="218615"/>
                  <a:pt x="390103" y="226093"/>
                  <a:pt x="408858" y="270961"/>
                </a:cubicBezTo>
                <a:cubicBezTo>
                  <a:pt x="423862" y="297134"/>
                  <a:pt x="423862" y="409304"/>
                  <a:pt x="420111" y="495300"/>
                </a:cubicBezTo>
                <a:cubicBezTo>
                  <a:pt x="420111" y="495300"/>
                  <a:pt x="420111" y="495300"/>
                  <a:pt x="352593" y="495300"/>
                </a:cubicBezTo>
                <a:cubicBezTo>
                  <a:pt x="352593" y="495300"/>
                  <a:pt x="352593" y="495300"/>
                  <a:pt x="348842" y="330785"/>
                </a:cubicBezTo>
                <a:cubicBezTo>
                  <a:pt x="348842" y="330785"/>
                  <a:pt x="348842" y="329850"/>
                  <a:pt x="347436" y="329383"/>
                </a:cubicBezTo>
                <a:lnTo>
                  <a:pt x="337589" y="330785"/>
                </a:lnTo>
                <a:lnTo>
                  <a:pt x="333838" y="327046"/>
                </a:lnTo>
                <a:cubicBezTo>
                  <a:pt x="333838" y="327046"/>
                  <a:pt x="333838" y="327046"/>
                  <a:pt x="337589" y="495300"/>
                </a:cubicBezTo>
                <a:cubicBezTo>
                  <a:pt x="337589" y="495300"/>
                  <a:pt x="337589" y="495300"/>
                  <a:pt x="213807" y="495300"/>
                </a:cubicBezTo>
                <a:cubicBezTo>
                  <a:pt x="213807" y="495300"/>
                  <a:pt x="213807" y="495300"/>
                  <a:pt x="86273" y="495300"/>
                </a:cubicBezTo>
                <a:cubicBezTo>
                  <a:pt x="86273" y="495300"/>
                  <a:pt x="86273" y="495300"/>
                  <a:pt x="86273" y="330785"/>
                </a:cubicBezTo>
                <a:cubicBezTo>
                  <a:pt x="75050" y="327056"/>
                  <a:pt x="75020" y="330765"/>
                  <a:pt x="75020" y="330785"/>
                </a:cubicBezTo>
                <a:cubicBezTo>
                  <a:pt x="75020" y="330785"/>
                  <a:pt x="75020" y="330785"/>
                  <a:pt x="71269" y="495300"/>
                </a:cubicBezTo>
                <a:cubicBezTo>
                  <a:pt x="71269" y="495300"/>
                  <a:pt x="71269" y="495300"/>
                  <a:pt x="0" y="495300"/>
                </a:cubicBezTo>
                <a:cubicBezTo>
                  <a:pt x="0" y="409304"/>
                  <a:pt x="0" y="297134"/>
                  <a:pt x="11253" y="270961"/>
                </a:cubicBezTo>
                <a:cubicBezTo>
                  <a:pt x="22506" y="233571"/>
                  <a:pt x="56265" y="218615"/>
                  <a:pt x="86273" y="214876"/>
                </a:cubicBezTo>
                <a:cubicBezTo>
                  <a:pt x="86273" y="214876"/>
                  <a:pt x="86273" y="214876"/>
                  <a:pt x="142538" y="214876"/>
                </a:cubicBezTo>
                <a:cubicBezTo>
                  <a:pt x="142538" y="214876"/>
                  <a:pt x="142538" y="214876"/>
                  <a:pt x="180048" y="300873"/>
                </a:cubicBezTo>
                <a:cubicBezTo>
                  <a:pt x="180048" y="300873"/>
                  <a:pt x="180048" y="300873"/>
                  <a:pt x="195052" y="345741"/>
                </a:cubicBezTo>
                <a:cubicBezTo>
                  <a:pt x="195052" y="345741"/>
                  <a:pt x="195052" y="345741"/>
                  <a:pt x="206305" y="237310"/>
                </a:cubicBezTo>
                <a:cubicBezTo>
                  <a:pt x="206305" y="233571"/>
                  <a:pt x="202554" y="229832"/>
                  <a:pt x="202554" y="226093"/>
                </a:cubicBezTo>
                <a:cubicBezTo>
                  <a:pt x="202554" y="222354"/>
                  <a:pt x="206305" y="214876"/>
                  <a:pt x="213807" y="214876"/>
                </a:cubicBezTo>
                <a:cubicBezTo>
                  <a:pt x="213807" y="211137"/>
                  <a:pt x="217558" y="211137"/>
                  <a:pt x="221309" y="211137"/>
                </a:cubicBezTo>
                <a:close/>
                <a:moveTo>
                  <a:pt x="213438" y="0"/>
                </a:moveTo>
                <a:lnTo>
                  <a:pt x="220954" y="0"/>
                </a:lnTo>
                <a:cubicBezTo>
                  <a:pt x="269810" y="0"/>
                  <a:pt x="311150" y="41474"/>
                  <a:pt x="311150" y="90488"/>
                </a:cubicBezTo>
                <a:cubicBezTo>
                  <a:pt x="311150" y="139502"/>
                  <a:pt x="269810" y="180975"/>
                  <a:pt x="220954" y="180975"/>
                </a:cubicBezTo>
                <a:cubicBezTo>
                  <a:pt x="217196" y="180975"/>
                  <a:pt x="213438" y="180975"/>
                  <a:pt x="213438" y="177205"/>
                </a:cubicBezTo>
                <a:cubicBezTo>
                  <a:pt x="164582" y="173435"/>
                  <a:pt x="127000" y="135731"/>
                  <a:pt x="127000" y="90488"/>
                </a:cubicBezTo>
                <a:cubicBezTo>
                  <a:pt x="127000" y="41474"/>
                  <a:pt x="164582" y="3771"/>
                  <a:pt x="213438" y="0"/>
                </a:cubicBez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3" name="Freeform 22"/>
          <p:cNvSpPr>
            <a:spLocks noEditPoints="1"/>
          </p:cNvSpPr>
          <p:nvPr/>
        </p:nvSpPr>
        <p:spPr bwMode="auto">
          <a:xfrm>
            <a:off x="2398792" y="3773747"/>
            <a:ext cx="232632" cy="403353"/>
          </a:xfrm>
          <a:custGeom>
            <a:avLst/>
            <a:gdLst>
              <a:gd name="T0" fmla="*/ 45 w 105"/>
              <a:gd name="T1" fmla="*/ 139 h 182"/>
              <a:gd name="T2" fmla="*/ 45 w 105"/>
              <a:gd name="T3" fmla="*/ 96 h 182"/>
              <a:gd name="T4" fmla="*/ 14 w 105"/>
              <a:gd name="T5" fmla="*/ 79 h 182"/>
              <a:gd name="T6" fmla="*/ 4 w 105"/>
              <a:gd name="T7" fmla="*/ 51 h 182"/>
              <a:gd name="T8" fmla="*/ 15 w 105"/>
              <a:gd name="T9" fmla="*/ 23 h 182"/>
              <a:gd name="T10" fmla="*/ 45 w 105"/>
              <a:gd name="T11" fmla="*/ 10 h 182"/>
              <a:gd name="T12" fmla="*/ 45 w 105"/>
              <a:gd name="T13" fmla="*/ 0 h 182"/>
              <a:gd name="T14" fmla="*/ 60 w 105"/>
              <a:gd name="T15" fmla="*/ 0 h 182"/>
              <a:gd name="T16" fmla="*/ 60 w 105"/>
              <a:gd name="T17" fmla="*/ 10 h 182"/>
              <a:gd name="T18" fmla="*/ 87 w 105"/>
              <a:gd name="T19" fmla="*/ 21 h 182"/>
              <a:gd name="T20" fmla="*/ 100 w 105"/>
              <a:gd name="T21" fmla="*/ 45 h 182"/>
              <a:gd name="T22" fmla="*/ 73 w 105"/>
              <a:gd name="T23" fmla="*/ 49 h 182"/>
              <a:gd name="T24" fmla="*/ 60 w 105"/>
              <a:gd name="T25" fmla="*/ 32 h 182"/>
              <a:gd name="T26" fmla="*/ 60 w 105"/>
              <a:gd name="T27" fmla="*/ 72 h 182"/>
              <a:gd name="T28" fmla="*/ 95 w 105"/>
              <a:gd name="T29" fmla="*/ 89 h 182"/>
              <a:gd name="T30" fmla="*/ 105 w 105"/>
              <a:gd name="T31" fmla="*/ 116 h 182"/>
              <a:gd name="T32" fmla="*/ 93 w 105"/>
              <a:gd name="T33" fmla="*/ 147 h 182"/>
              <a:gd name="T34" fmla="*/ 60 w 105"/>
              <a:gd name="T35" fmla="*/ 163 h 182"/>
              <a:gd name="T36" fmla="*/ 60 w 105"/>
              <a:gd name="T37" fmla="*/ 182 h 182"/>
              <a:gd name="T38" fmla="*/ 45 w 105"/>
              <a:gd name="T39" fmla="*/ 182 h 182"/>
              <a:gd name="T40" fmla="*/ 45 w 105"/>
              <a:gd name="T41" fmla="*/ 163 h 182"/>
              <a:gd name="T42" fmla="*/ 14 w 105"/>
              <a:gd name="T43" fmla="*/ 150 h 182"/>
              <a:gd name="T44" fmla="*/ 0 w 105"/>
              <a:gd name="T45" fmla="*/ 119 h 182"/>
              <a:gd name="T46" fmla="*/ 28 w 105"/>
              <a:gd name="T47" fmla="*/ 116 h 182"/>
              <a:gd name="T48" fmla="*/ 34 w 105"/>
              <a:gd name="T49" fmla="*/ 130 h 182"/>
              <a:gd name="T50" fmla="*/ 45 w 105"/>
              <a:gd name="T51" fmla="*/ 139 h 182"/>
              <a:gd name="T52" fmla="*/ 45 w 105"/>
              <a:gd name="T53" fmla="*/ 32 h 182"/>
              <a:gd name="T54" fmla="*/ 35 w 105"/>
              <a:gd name="T55" fmla="*/ 39 h 182"/>
              <a:gd name="T56" fmla="*/ 31 w 105"/>
              <a:gd name="T57" fmla="*/ 50 h 182"/>
              <a:gd name="T58" fmla="*/ 34 w 105"/>
              <a:gd name="T59" fmla="*/ 60 h 182"/>
              <a:gd name="T60" fmla="*/ 45 w 105"/>
              <a:gd name="T61" fmla="*/ 67 h 182"/>
              <a:gd name="T62" fmla="*/ 45 w 105"/>
              <a:gd name="T63" fmla="*/ 32 h 182"/>
              <a:gd name="T64" fmla="*/ 60 w 105"/>
              <a:gd name="T65" fmla="*/ 140 h 182"/>
              <a:gd name="T66" fmla="*/ 73 w 105"/>
              <a:gd name="T67" fmla="*/ 133 h 182"/>
              <a:gd name="T68" fmla="*/ 78 w 105"/>
              <a:gd name="T69" fmla="*/ 120 h 182"/>
              <a:gd name="T70" fmla="*/ 74 w 105"/>
              <a:gd name="T71" fmla="*/ 108 h 182"/>
              <a:gd name="T72" fmla="*/ 60 w 105"/>
              <a:gd name="T73" fmla="*/ 101 h 182"/>
              <a:gd name="T74" fmla="*/ 60 w 105"/>
              <a:gd name="T75" fmla="*/ 14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82">
                <a:moveTo>
                  <a:pt x="45" y="139"/>
                </a:moveTo>
                <a:cubicBezTo>
                  <a:pt x="45" y="96"/>
                  <a:pt x="45" y="96"/>
                  <a:pt x="45" y="96"/>
                </a:cubicBezTo>
                <a:cubicBezTo>
                  <a:pt x="31" y="92"/>
                  <a:pt x="20" y="87"/>
                  <a:pt x="14" y="79"/>
                </a:cubicBezTo>
                <a:cubicBezTo>
                  <a:pt x="7" y="71"/>
                  <a:pt x="4" y="62"/>
                  <a:pt x="4" y="51"/>
                </a:cubicBezTo>
                <a:cubicBezTo>
                  <a:pt x="4" y="40"/>
                  <a:pt x="8" y="30"/>
                  <a:pt x="15" y="23"/>
                </a:cubicBezTo>
                <a:cubicBezTo>
                  <a:pt x="22" y="15"/>
                  <a:pt x="32" y="11"/>
                  <a:pt x="45" y="10"/>
                </a:cubicBezTo>
                <a:cubicBezTo>
                  <a:pt x="45" y="0"/>
                  <a:pt x="45" y="0"/>
                  <a:pt x="45" y="0"/>
                </a:cubicBezTo>
                <a:cubicBezTo>
                  <a:pt x="60" y="0"/>
                  <a:pt x="60" y="0"/>
                  <a:pt x="60" y="0"/>
                </a:cubicBezTo>
                <a:cubicBezTo>
                  <a:pt x="60" y="10"/>
                  <a:pt x="60" y="10"/>
                  <a:pt x="60" y="10"/>
                </a:cubicBezTo>
                <a:cubicBezTo>
                  <a:pt x="72" y="11"/>
                  <a:pt x="81" y="15"/>
                  <a:pt x="87" y="21"/>
                </a:cubicBezTo>
                <a:cubicBezTo>
                  <a:pt x="94" y="27"/>
                  <a:pt x="99" y="35"/>
                  <a:pt x="100" y="45"/>
                </a:cubicBezTo>
                <a:cubicBezTo>
                  <a:pt x="73" y="49"/>
                  <a:pt x="73" y="49"/>
                  <a:pt x="73" y="49"/>
                </a:cubicBezTo>
                <a:cubicBezTo>
                  <a:pt x="71" y="41"/>
                  <a:pt x="67" y="35"/>
                  <a:pt x="60" y="32"/>
                </a:cubicBezTo>
                <a:cubicBezTo>
                  <a:pt x="60" y="72"/>
                  <a:pt x="60" y="72"/>
                  <a:pt x="60" y="72"/>
                </a:cubicBezTo>
                <a:cubicBezTo>
                  <a:pt x="77" y="76"/>
                  <a:pt x="89" y="82"/>
                  <a:pt x="95" y="89"/>
                </a:cubicBezTo>
                <a:cubicBezTo>
                  <a:pt x="102" y="96"/>
                  <a:pt x="105" y="105"/>
                  <a:pt x="105" y="116"/>
                </a:cubicBezTo>
                <a:cubicBezTo>
                  <a:pt x="105" y="128"/>
                  <a:pt x="101" y="139"/>
                  <a:pt x="93" y="147"/>
                </a:cubicBezTo>
                <a:cubicBezTo>
                  <a:pt x="85" y="156"/>
                  <a:pt x="74" y="161"/>
                  <a:pt x="60" y="163"/>
                </a:cubicBezTo>
                <a:cubicBezTo>
                  <a:pt x="60" y="182"/>
                  <a:pt x="60" y="182"/>
                  <a:pt x="60" y="182"/>
                </a:cubicBezTo>
                <a:cubicBezTo>
                  <a:pt x="45" y="182"/>
                  <a:pt x="45" y="182"/>
                  <a:pt x="45" y="182"/>
                </a:cubicBezTo>
                <a:cubicBezTo>
                  <a:pt x="45" y="163"/>
                  <a:pt x="45" y="163"/>
                  <a:pt x="45" y="163"/>
                </a:cubicBezTo>
                <a:cubicBezTo>
                  <a:pt x="32" y="162"/>
                  <a:pt x="22" y="157"/>
                  <a:pt x="14" y="150"/>
                </a:cubicBezTo>
                <a:cubicBezTo>
                  <a:pt x="7" y="143"/>
                  <a:pt x="2" y="132"/>
                  <a:pt x="0" y="119"/>
                </a:cubicBezTo>
                <a:cubicBezTo>
                  <a:pt x="28" y="116"/>
                  <a:pt x="28" y="116"/>
                  <a:pt x="28" y="116"/>
                </a:cubicBezTo>
                <a:cubicBezTo>
                  <a:pt x="29" y="122"/>
                  <a:pt x="31" y="126"/>
                  <a:pt x="34" y="130"/>
                </a:cubicBezTo>
                <a:cubicBezTo>
                  <a:pt x="37" y="134"/>
                  <a:pt x="41" y="137"/>
                  <a:pt x="45" y="139"/>
                </a:cubicBezTo>
                <a:close/>
                <a:moveTo>
                  <a:pt x="45" y="32"/>
                </a:moveTo>
                <a:cubicBezTo>
                  <a:pt x="40" y="33"/>
                  <a:pt x="37" y="36"/>
                  <a:pt x="35" y="39"/>
                </a:cubicBezTo>
                <a:cubicBezTo>
                  <a:pt x="32" y="42"/>
                  <a:pt x="31" y="46"/>
                  <a:pt x="31" y="50"/>
                </a:cubicBezTo>
                <a:cubicBezTo>
                  <a:pt x="31" y="53"/>
                  <a:pt x="32" y="57"/>
                  <a:pt x="34" y="60"/>
                </a:cubicBezTo>
                <a:cubicBezTo>
                  <a:pt x="36" y="63"/>
                  <a:pt x="40" y="65"/>
                  <a:pt x="45" y="67"/>
                </a:cubicBezTo>
                <a:lnTo>
                  <a:pt x="45" y="32"/>
                </a:lnTo>
                <a:close/>
                <a:moveTo>
                  <a:pt x="60" y="140"/>
                </a:moveTo>
                <a:cubicBezTo>
                  <a:pt x="66" y="139"/>
                  <a:pt x="70" y="137"/>
                  <a:pt x="73" y="133"/>
                </a:cubicBezTo>
                <a:cubicBezTo>
                  <a:pt x="77" y="129"/>
                  <a:pt x="78" y="125"/>
                  <a:pt x="78" y="120"/>
                </a:cubicBezTo>
                <a:cubicBezTo>
                  <a:pt x="78" y="115"/>
                  <a:pt x="77" y="111"/>
                  <a:pt x="74" y="108"/>
                </a:cubicBezTo>
                <a:cubicBezTo>
                  <a:pt x="71" y="105"/>
                  <a:pt x="67" y="102"/>
                  <a:pt x="60" y="101"/>
                </a:cubicBezTo>
                <a:lnTo>
                  <a:pt x="60" y="140"/>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4" name="TextBox 8"/>
          <p:cNvSpPr txBox="1"/>
          <p:nvPr/>
        </p:nvSpPr>
        <p:spPr>
          <a:xfrm>
            <a:off x="3393639" y="1435411"/>
            <a:ext cx="3672808" cy="621709"/>
          </a:xfrm>
          <a:prstGeom prst="rect">
            <a:avLst/>
          </a:prstGeom>
          <a:noFill/>
        </p:spPr>
        <p:txBody>
          <a:bodyPr wrap="square" rtlCol="0">
            <a:spAutoFit/>
          </a:bodyPr>
          <a:lstStyle/>
          <a:p>
            <a:pPr>
              <a:lnSpc>
                <a:spcPct val="130000"/>
              </a:lnSpc>
            </a:pPr>
            <a:r>
              <a:rPr lang="zh-CN" altLang="en-US" sz="880"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您的内容打在这里，或者通过通过复制您的文本。</a:t>
            </a:r>
          </a:p>
        </p:txBody>
      </p:sp>
      <p:sp>
        <p:nvSpPr>
          <p:cNvPr id="25" name="TextBox 9"/>
          <p:cNvSpPr txBox="1"/>
          <p:nvPr/>
        </p:nvSpPr>
        <p:spPr>
          <a:xfrm>
            <a:off x="3384910" y="1096109"/>
            <a:ext cx="2344838" cy="339324"/>
          </a:xfrm>
          <a:prstGeom prst="rect">
            <a:avLst/>
          </a:prstGeom>
          <a:noFill/>
        </p:spPr>
        <p:txBody>
          <a:bodyPr wrap="square" tIns="0" bIns="0" rtlCol="0" anchor="t">
            <a:spAutoFit/>
          </a:bodyPr>
          <a:lstStyle/>
          <a:p>
            <a:pPr>
              <a:lnSpc>
                <a:spcPct val="150000"/>
              </a:lnSpc>
            </a:pPr>
            <a:r>
              <a:rPr lang="zh-CN" altLang="en-US" sz="1470" b="1" dirty="0">
                <a:solidFill>
                  <a:srgbClr val="2C53B6"/>
                </a:solidFill>
                <a:latin typeface="微软雅黑" panose="020B0503020204020204" pitchFamily="34" charset="-122"/>
                <a:ea typeface="微软雅黑" panose="020B0503020204020204" pitchFamily="34" charset="-122"/>
                <a:cs typeface="华文黑体" pitchFamily="2" charset="-122"/>
              </a:rPr>
              <a:t>点击添加标题</a:t>
            </a:r>
          </a:p>
        </p:txBody>
      </p:sp>
      <p:sp>
        <p:nvSpPr>
          <p:cNvPr id="26" name="TextBox 10"/>
          <p:cNvSpPr txBox="1"/>
          <p:nvPr/>
        </p:nvSpPr>
        <p:spPr>
          <a:xfrm>
            <a:off x="3393639" y="2717036"/>
            <a:ext cx="3672808" cy="798167"/>
          </a:xfrm>
          <a:prstGeom prst="rect">
            <a:avLst/>
          </a:prstGeom>
          <a:noFill/>
        </p:spPr>
        <p:txBody>
          <a:bodyPr wrap="square" rtlCol="0">
            <a:spAutoFit/>
          </a:bodyPr>
          <a:lstStyle/>
          <a:p>
            <a:pPr>
              <a:lnSpc>
                <a:spcPct val="130000"/>
              </a:lnSpc>
            </a:pPr>
            <a:r>
              <a:rPr lang="zh-CN" altLang="en-US" sz="880"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您的内容打在这里，或者通过复制您的文本后，在此框中选择粘贴，并选择只保留文字。</a:t>
            </a:r>
          </a:p>
        </p:txBody>
      </p:sp>
      <p:sp>
        <p:nvSpPr>
          <p:cNvPr id="27" name="TextBox 11"/>
          <p:cNvSpPr txBox="1"/>
          <p:nvPr/>
        </p:nvSpPr>
        <p:spPr>
          <a:xfrm>
            <a:off x="3384910" y="2377734"/>
            <a:ext cx="2462825" cy="299313"/>
          </a:xfrm>
          <a:prstGeom prst="rect">
            <a:avLst/>
          </a:prstGeom>
          <a:noFill/>
        </p:spPr>
        <p:txBody>
          <a:bodyPr wrap="square" tIns="0" bIns="0" rtlCol="0" anchor="t">
            <a:spAutoFit/>
          </a:bodyPr>
          <a:lstStyle/>
          <a:p>
            <a:pPr>
              <a:lnSpc>
                <a:spcPct val="150000"/>
              </a:lnSpc>
            </a:pPr>
            <a:r>
              <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rPr>
              <a:t>点击添加标题</a:t>
            </a:r>
          </a:p>
        </p:txBody>
      </p:sp>
      <p:sp>
        <p:nvSpPr>
          <p:cNvPr id="28" name="TextBox 12"/>
          <p:cNvSpPr txBox="1"/>
          <p:nvPr/>
        </p:nvSpPr>
        <p:spPr>
          <a:xfrm>
            <a:off x="3393639" y="4040099"/>
            <a:ext cx="3672808" cy="428066"/>
          </a:xfrm>
          <a:prstGeom prst="rect">
            <a:avLst/>
          </a:prstGeom>
          <a:noFill/>
        </p:spPr>
        <p:txBody>
          <a:bodyPr wrap="square" rtlCol="0">
            <a:spAutoFit/>
          </a:bodyPr>
          <a:lstStyle/>
          <a:p>
            <a:pPr>
              <a:lnSpc>
                <a:spcPct val="130000"/>
              </a:lnSpc>
            </a:pPr>
            <a:r>
              <a:rPr lang="zh-CN" altLang="en-US" sz="880"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p>
        </p:txBody>
      </p:sp>
      <p:sp>
        <p:nvSpPr>
          <p:cNvPr id="29" name="TextBox 13"/>
          <p:cNvSpPr txBox="1"/>
          <p:nvPr/>
        </p:nvSpPr>
        <p:spPr>
          <a:xfrm>
            <a:off x="3384910" y="3700798"/>
            <a:ext cx="2455451" cy="299313"/>
          </a:xfrm>
          <a:prstGeom prst="rect">
            <a:avLst/>
          </a:prstGeom>
          <a:noFill/>
        </p:spPr>
        <p:txBody>
          <a:bodyPr wrap="square" tIns="0" bIns="0" rtlCol="0" anchor="t">
            <a:spAutoFit/>
          </a:bodyPr>
          <a:lstStyle/>
          <a:p>
            <a:pPr>
              <a:lnSpc>
                <a:spcPct val="150000"/>
              </a:lnSpc>
            </a:pPr>
            <a:r>
              <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rPr>
              <a:t>点击添加标题</a:t>
            </a:r>
          </a:p>
        </p:txBody>
      </p:sp>
      <p:cxnSp>
        <p:nvCxnSpPr>
          <p:cNvPr id="30" name="直接箭头连接符 29"/>
          <p:cNvCxnSpPr>
            <a:stCxn id="18" idx="1"/>
          </p:cNvCxnSpPr>
          <p:nvPr/>
        </p:nvCxnSpPr>
        <p:spPr>
          <a:xfrm>
            <a:off x="2512164" y="2285453"/>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a:stCxn id="19" idx="1"/>
          </p:cNvCxnSpPr>
          <p:nvPr/>
        </p:nvCxnSpPr>
        <p:spPr>
          <a:xfrm>
            <a:off x="2512164" y="3547830"/>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a:stCxn id="20" idx="1"/>
          </p:cNvCxnSpPr>
          <p:nvPr/>
        </p:nvCxnSpPr>
        <p:spPr>
          <a:xfrm>
            <a:off x="2512164" y="4812170"/>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4" name="矩形 33"/>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103">
        <p15:prstTrans prst="pageCurlDouble"/>
      </p:transition>
    </mc:Choice>
    <mc:Fallback xmlns="">
      <p:transition spd="slow" advClick="0" advTm="410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0-#ppt_h/2"/>
                                          </p:val>
                                        </p:tav>
                                        <p:tav tm="100000">
                                          <p:val>
                                            <p:strVal val="#ppt_y"/>
                                          </p:val>
                                        </p:tav>
                                      </p:tavLst>
                                    </p:anim>
                                  </p:childTnLst>
                                </p:cTn>
                              </p:par>
                            </p:childTnLst>
                          </p:cTn>
                        </p:par>
                        <p:par>
                          <p:cTn id="17" fill="hold">
                            <p:stCondLst>
                              <p:cond delay="500"/>
                            </p:stCondLst>
                            <p:childTnLst>
                              <p:par>
                                <p:cTn id="18" presetID="14" presetClass="entr" presetSubtype="1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randombar(horizontal)">
                                      <p:cBhvr>
                                        <p:cTn id="20" dur="500"/>
                                        <p:tgtEl>
                                          <p:spTgt spid="22"/>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randombar(horizontal)">
                                      <p:cBhvr>
                                        <p:cTn id="23" dur="500"/>
                                        <p:tgtEl>
                                          <p:spTgt spid="21"/>
                                        </p:tgtEl>
                                      </p:cBhvr>
                                    </p:animEffect>
                                  </p:childTnLst>
                                </p:cTn>
                              </p:par>
                              <p:par>
                                <p:cTn id="24" presetID="14" presetClass="entr" presetSubtype="1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randombar(horizontal)">
                                      <p:cBhvr>
                                        <p:cTn id="26" dur="500"/>
                                        <p:tgtEl>
                                          <p:spTgt spid="23"/>
                                        </p:tgtEl>
                                      </p:cBhvr>
                                    </p:animEffect>
                                  </p:childTnLst>
                                </p:cTn>
                              </p:par>
                              <p:par>
                                <p:cTn id="27" presetID="22" presetClass="entr" presetSubtype="8"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left)">
                                      <p:cBhvr>
                                        <p:cTn id="29" dur="500"/>
                                        <p:tgtEl>
                                          <p:spTgt spid="30"/>
                                        </p:tgtEl>
                                      </p:cBhvr>
                                    </p:animEffect>
                                  </p:childTnLst>
                                </p:cTn>
                              </p:par>
                              <p:par>
                                <p:cTn id="30" presetID="22" presetClass="entr" presetSubtype="8"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wipe(left)">
                                      <p:cBhvr>
                                        <p:cTn id="32" dur="500"/>
                                        <p:tgtEl>
                                          <p:spTgt spid="31"/>
                                        </p:tgtEl>
                                      </p:cBhvr>
                                    </p:animEffect>
                                  </p:childTnLst>
                                </p:cTn>
                              </p:par>
                              <p:par>
                                <p:cTn id="33" presetID="22" presetClass="entr" presetSubtype="8"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wipe(left)">
                                      <p:cBhvr>
                                        <p:cTn id="42" dur="500"/>
                                        <p:tgtEl>
                                          <p:spTgt spid="25"/>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left)">
                                      <p:cBhvr>
                                        <p:cTn id="46" dur="500"/>
                                        <p:tgtEl>
                                          <p:spTgt spid="2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wipe(left)">
                                      <p:cBhvr>
                                        <p:cTn id="49" dur="500"/>
                                        <p:tgtEl>
                                          <p:spTgt spid="27"/>
                                        </p:tgtEl>
                                      </p:cBhvr>
                                    </p:animEffect>
                                  </p:childTnLst>
                                </p:cTn>
                              </p:par>
                            </p:childTnLst>
                          </p:cTn>
                        </p:par>
                        <p:par>
                          <p:cTn id="50" fill="hold">
                            <p:stCondLst>
                              <p:cond delay="2000"/>
                            </p:stCondLst>
                            <p:childTnLst>
                              <p:par>
                                <p:cTn id="51" presetID="22" presetClass="entr" presetSubtype="8" fill="hold" grpId="0" nodeType="after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wipe(left)">
                                      <p:cBhvr>
                                        <p:cTn id="53" dur="500"/>
                                        <p:tgtEl>
                                          <p:spTgt spid="28"/>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2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1151993" y="2467233"/>
            <a:ext cx="5094221" cy="119076"/>
          </a:xfrm>
          <a:prstGeom prst="rect">
            <a:avLst/>
          </a:pr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sp>
        <p:nvSpPr>
          <p:cNvPr id="31" name="矩形 12"/>
          <p:cNvSpPr/>
          <p:nvPr/>
        </p:nvSpPr>
        <p:spPr>
          <a:xfrm>
            <a:off x="1151993" y="2665694"/>
            <a:ext cx="5200066" cy="122357"/>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32" name="组合 31"/>
          <p:cNvGrpSpPr/>
          <p:nvPr/>
        </p:nvGrpSpPr>
        <p:grpSpPr>
          <a:xfrm>
            <a:off x="6196631" y="1673395"/>
            <a:ext cx="1951453" cy="1905212"/>
            <a:chOff x="8404007" y="2276872"/>
            <a:chExt cx="2655206" cy="2592288"/>
          </a:xfrm>
          <a:solidFill>
            <a:srgbClr val="2C53B6"/>
          </a:solidFill>
        </p:grpSpPr>
        <p:sp>
          <p:nvSpPr>
            <p:cNvPr id="33" name="椭圆 1"/>
            <p:cNvSpPr/>
            <p:nvPr/>
          </p:nvSpPr>
          <p:spPr>
            <a:xfrm>
              <a:off x="8404007" y="2276872"/>
              <a:ext cx="2655206" cy="124213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4" name="椭圆 1"/>
            <p:cNvSpPr/>
            <p:nvPr/>
          </p:nvSpPr>
          <p:spPr>
            <a:xfrm>
              <a:off x="8404007" y="3627022"/>
              <a:ext cx="2655206" cy="1242138"/>
            </a:xfrm>
            <a:prstGeom prst="flowChartManualOperati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grpSp>
          <p:nvGrpSpPr>
            <p:cNvPr id="35" name="Group 73"/>
            <p:cNvGrpSpPr/>
            <p:nvPr>
              <p:custDataLst>
                <p:tags r:id="rId1"/>
              </p:custDataLst>
            </p:nvPr>
          </p:nvGrpSpPr>
          <p:grpSpPr>
            <a:xfrm>
              <a:off x="9167718" y="2905458"/>
              <a:ext cx="1127785" cy="451534"/>
              <a:chOff x="683122" y="3143325"/>
              <a:chExt cx="1092016" cy="428533"/>
            </a:xfrm>
            <a:grpFill/>
          </p:grpSpPr>
          <p:pic>
            <p:nvPicPr>
              <p:cNvPr id="39"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1022176" y="3143325"/>
                <a:ext cx="752962" cy="428533"/>
              </a:xfrm>
              <a:prstGeom prst="rect">
                <a:avLst/>
              </a:prstGeom>
              <a:grpFill/>
            </p:spPr>
          </p:pic>
          <p:pic>
            <p:nvPicPr>
              <p:cNvPr id="40"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a:grpFill/>
            </p:spPr>
          </p:pic>
        </p:grpSp>
        <p:pic>
          <p:nvPicPr>
            <p:cNvPr id="36"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a:grpFill/>
          </p:spPr>
        </p:pic>
        <p:sp>
          <p:nvSpPr>
            <p:cNvPr id="37" name="矩形 36"/>
            <p:cNvSpPr/>
            <p:nvPr/>
          </p:nvSpPr>
          <p:spPr>
            <a:xfrm>
              <a:off x="8946780" y="2515182"/>
              <a:ext cx="1272014" cy="329781"/>
            </a:xfrm>
            <a:prstGeom prst="rect">
              <a:avLst/>
            </a:prstGeom>
            <a:grpFill/>
          </p:spPr>
          <p:txBody>
            <a:bodyPr wrap="none">
              <a:spAutoFit/>
            </a:bodyPr>
            <a:lstStyle/>
            <a:p>
              <a:r>
                <a:rPr lang="zh-CN" altLang="en-US" sz="975" dirty="0">
                  <a:solidFill>
                    <a:schemeClr val="bg1"/>
                  </a:solidFill>
                  <a:latin typeface="微软雅黑" panose="020B0503020204020204" pitchFamily="34" charset="-122"/>
                  <a:ea typeface="微软雅黑" panose="020B0503020204020204" pitchFamily="34" charset="-122"/>
                  <a:cs typeface="华文黑体" pitchFamily="2" charset="-122"/>
                </a:rPr>
                <a:t>单击添加标题</a:t>
              </a:r>
            </a:p>
          </p:txBody>
        </p:sp>
        <p:sp>
          <p:nvSpPr>
            <p:cNvPr id="38" name="矩形 37"/>
            <p:cNvSpPr/>
            <p:nvPr/>
          </p:nvSpPr>
          <p:spPr>
            <a:xfrm>
              <a:off x="8946780" y="3708031"/>
              <a:ext cx="1272014" cy="329781"/>
            </a:xfrm>
            <a:prstGeom prst="rect">
              <a:avLst/>
            </a:prstGeom>
            <a:grpFill/>
          </p:spPr>
          <p:txBody>
            <a:bodyPr wrap="none">
              <a:spAutoFit/>
            </a:bodyPr>
            <a:lstStyle/>
            <a:p>
              <a:r>
                <a:rPr lang="zh-CN" altLang="en-US" sz="975" dirty="0">
                  <a:solidFill>
                    <a:schemeClr val="bg1"/>
                  </a:solidFill>
                  <a:latin typeface="微软雅黑" panose="020B0503020204020204" pitchFamily="34" charset="-122"/>
                  <a:ea typeface="微软雅黑" panose="020B0503020204020204" pitchFamily="34" charset="-122"/>
                  <a:cs typeface="华文黑体" pitchFamily="2" charset="-122"/>
                </a:rPr>
                <a:t>单击添加标题</a:t>
              </a:r>
            </a:p>
          </p:txBody>
        </p:sp>
      </p:grpSp>
      <p:sp>
        <p:nvSpPr>
          <p:cNvPr id="41" name="Freeform 91"/>
          <p:cNvSpPr>
            <a:spLocks noEditPoints="1"/>
          </p:cNvSpPr>
          <p:nvPr/>
        </p:nvSpPr>
        <p:spPr bwMode="auto">
          <a:xfrm>
            <a:off x="1165649" y="1355860"/>
            <a:ext cx="215469" cy="30722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2C53B6"/>
          </a:solidFill>
          <a:ln>
            <a:noFill/>
          </a:ln>
        </p:spPr>
        <p:txBody>
          <a:bodyPr vert="horz" wrap="square" lIns="50397" tIns="25199" rIns="50397" bIns="25199" numCol="1" anchor="t" anchorCtr="0" compatLnSpc="1"/>
          <a:lstStyle/>
          <a:p>
            <a:endParaRPr lang="en-US" sz="975">
              <a:solidFill>
                <a:srgbClr val="206DC1"/>
              </a:solidFill>
            </a:endParaRPr>
          </a:p>
        </p:txBody>
      </p:sp>
      <p:sp>
        <p:nvSpPr>
          <p:cNvPr id="44" name="Freeform 80"/>
          <p:cNvSpPr>
            <a:spLocks noEditPoints="1"/>
          </p:cNvSpPr>
          <p:nvPr/>
        </p:nvSpPr>
        <p:spPr bwMode="auto">
          <a:xfrm>
            <a:off x="1165649" y="2992876"/>
            <a:ext cx="215469" cy="30628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2C53B6"/>
          </a:solidFill>
          <a:ln>
            <a:noFill/>
          </a:ln>
        </p:spPr>
        <p:txBody>
          <a:bodyPr vert="horz" wrap="square" lIns="50397" tIns="25199" rIns="50397" bIns="25199" numCol="1" anchor="t" anchorCtr="0" compatLnSpc="1"/>
          <a:lstStyle/>
          <a:p>
            <a:endParaRPr lang="en-US" sz="975">
              <a:solidFill>
                <a:srgbClr val="206DC1"/>
              </a:solidFill>
            </a:endParaRPr>
          </a:p>
        </p:txBody>
      </p:sp>
      <p:grpSp>
        <p:nvGrpSpPr>
          <p:cNvPr id="45" name="组合 44"/>
          <p:cNvGrpSpPr/>
          <p:nvPr/>
        </p:nvGrpSpPr>
        <p:grpSpPr>
          <a:xfrm>
            <a:off x="1165648" y="1091247"/>
            <a:ext cx="6059632" cy="529225"/>
            <a:chOff x="1558702" y="1628800"/>
            <a:chExt cx="8244916" cy="720080"/>
          </a:xfrm>
          <a:solidFill>
            <a:schemeClr val="bg1">
              <a:lumMod val="50000"/>
            </a:schemeClr>
          </a:solidFill>
        </p:grpSpPr>
        <p:cxnSp>
          <p:nvCxnSpPr>
            <p:cNvPr id="46" name="直接连接符 6"/>
            <p:cNvCxnSpPr/>
            <p:nvPr/>
          </p:nvCxnSpPr>
          <p:spPr>
            <a:xfrm>
              <a:off x="1558702" y="1628800"/>
              <a:ext cx="8172908" cy="648072"/>
            </a:xfrm>
            <a:prstGeom prst="bentConnector3">
              <a:avLst>
                <a:gd name="adj1" fmla="val 99935"/>
              </a:avLst>
            </a:prstGeom>
            <a:grpFill/>
            <a:ln>
              <a:solidFill>
                <a:srgbClr val="2C53B6"/>
              </a:solidFill>
              <a:prstDash val="sysDash"/>
            </a:ln>
          </p:spPr>
          <p:style>
            <a:lnRef idx="1">
              <a:schemeClr val="accent1"/>
            </a:lnRef>
            <a:fillRef idx="0">
              <a:schemeClr val="accent1"/>
            </a:fillRef>
            <a:effectRef idx="0">
              <a:schemeClr val="accent1"/>
            </a:effectRef>
            <a:fontRef idx="minor">
              <a:schemeClr val="tx1"/>
            </a:fontRef>
          </p:style>
        </p:cxnSp>
        <p:sp>
          <p:nvSpPr>
            <p:cNvPr id="47" name="椭圆 46"/>
            <p:cNvSpPr/>
            <p:nvPr/>
          </p:nvSpPr>
          <p:spPr>
            <a:xfrm>
              <a:off x="9659602" y="2204864"/>
              <a:ext cx="144016" cy="144016"/>
            </a:xfrm>
            <a:prstGeom prst="ellipse">
              <a:avLst/>
            </a:prstGeom>
            <a:solidFill>
              <a:srgbClr val="206DC1"/>
            </a:solidFill>
            <a:ln>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48" name="组合 47"/>
          <p:cNvGrpSpPr/>
          <p:nvPr/>
        </p:nvGrpSpPr>
        <p:grpSpPr>
          <a:xfrm flipV="1">
            <a:off x="1165648" y="3631530"/>
            <a:ext cx="6059632" cy="529225"/>
            <a:chOff x="1558702" y="5301208"/>
            <a:chExt cx="8244916" cy="720080"/>
          </a:xfrm>
          <a:solidFill>
            <a:srgbClr val="F2B800"/>
          </a:solidFill>
        </p:grpSpPr>
        <p:cxnSp>
          <p:nvCxnSpPr>
            <p:cNvPr id="49" name="直接连接符 6"/>
            <p:cNvCxnSpPr/>
            <p:nvPr/>
          </p:nvCxnSpPr>
          <p:spPr>
            <a:xfrm>
              <a:off x="1558702" y="5301208"/>
              <a:ext cx="8172908" cy="648072"/>
            </a:xfrm>
            <a:prstGeom prst="bentConnector3">
              <a:avLst>
                <a:gd name="adj1" fmla="val 99935"/>
              </a:avLst>
            </a:prstGeom>
            <a:grpFill/>
            <a:ln>
              <a:solidFill>
                <a:srgbClr val="2C53B6"/>
              </a:solidFill>
              <a:prstDash val="sysDash"/>
            </a:ln>
          </p:spPr>
          <p:style>
            <a:lnRef idx="1">
              <a:schemeClr val="accent1"/>
            </a:lnRef>
            <a:fillRef idx="0">
              <a:schemeClr val="accent1"/>
            </a:fillRef>
            <a:effectRef idx="0">
              <a:schemeClr val="accent1"/>
            </a:effectRef>
            <a:fontRef idx="minor">
              <a:schemeClr val="tx1"/>
            </a:fontRef>
          </p:style>
        </p:cxnSp>
        <p:sp>
          <p:nvSpPr>
            <p:cNvPr id="50" name="椭圆 49"/>
            <p:cNvSpPr/>
            <p:nvPr/>
          </p:nvSpPr>
          <p:spPr>
            <a:xfrm>
              <a:off x="9659602" y="5877272"/>
              <a:ext cx="144016" cy="144016"/>
            </a:xfrm>
            <a:prstGeom prst="ellipse">
              <a:avLst/>
            </a:prstGeom>
            <a:solidFill>
              <a:srgbClr val="206DC1"/>
            </a:solidFill>
            <a:ln>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sp>
        <p:nvSpPr>
          <p:cNvPr id="51" name="矩形 50"/>
          <p:cNvSpPr/>
          <p:nvPr/>
        </p:nvSpPr>
        <p:spPr>
          <a:xfrm>
            <a:off x="1483184" y="1369027"/>
            <a:ext cx="1626598"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您的标题</a:t>
            </a:r>
          </a:p>
        </p:txBody>
      </p:sp>
      <p:sp>
        <p:nvSpPr>
          <p:cNvPr id="52" name="矩形 51"/>
          <p:cNvSpPr/>
          <p:nvPr/>
        </p:nvSpPr>
        <p:spPr>
          <a:xfrm>
            <a:off x="1491004" y="1696477"/>
            <a:ext cx="4331829" cy="852541"/>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a:t>
            </a:r>
          </a:p>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a:t>
            </a:r>
          </a:p>
        </p:txBody>
      </p:sp>
      <p:sp>
        <p:nvSpPr>
          <p:cNvPr id="53" name="矩形 52"/>
          <p:cNvSpPr/>
          <p:nvPr/>
        </p:nvSpPr>
        <p:spPr>
          <a:xfrm>
            <a:off x="1483184" y="3035276"/>
            <a:ext cx="1626598"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您的标题</a:t>
            </a:r>
          </a:p>
        </p:txBody>
      </p:sp>
      <p:sp>
        <p:nvSpPr>
          <p:cNvPr id="54" name="矩形 53"/>
          <p:cNvSpPr/>
          <p:nvPr/>
        </p:nvSpPr>
        <p:spPr>
          <a:xfrm>
            <a:off x="1491004" y="3362726"/>
            <a:ext cx="4331829" cy="662489"/>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文字点击输入文字点击输入文字点击输入文字点击输入文字点击</a:t>
            </a:r>
          </a:p>
        </p:txBody>
      </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3992">
        <p15:prstTrans prst="pageCurlDouble"/>
      </p:transition>
    </mc:Choice>
    <mc:Fallback xmlns="">
      <p:transition spd="slow" advClick="0" advTm="399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30"/>
                                        </p:tgtEl>
                                        <p:attrNameLst>
                                          <p:attrName>style.visibility</p:attrName>
                                        </p:attrNameLst>
                                      </p:cBhvr>
                                      <p:to>
                                        <p:strVal val="visible"/>
                                      </p:to>
                                    </p:set>
                                    <p:animEffect transition="in" filter="wipe(right)">
                                      <p:cBhvr>
                                        <p:cTn id="12" dur="500"/>
                                        <p:tgtEl>
                                          <p:spTgt spid="30"/>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par>
                                <p:cTn id="16" presetID="22" presetClass="entr" presetSubtype="2" fill="hold" nodeType="withEffect">
                                  <p:stCondLst>
                                    <p:cond delay="500"/>
                                  </p:stCondLst>
                                  <p:childTnLst>
                                    <p:set>
                                      <p:cBhvr>
                                        <p:cTn id="17" dur="1" fill="hold">
                                          <p:stCondLst>
                                            <p:cond delay="0"/>
                                          </p:stCondLst>
                                        </p:cTn>
                                        <p:tgtEl>
                                          <p:spTgt spid="45"/>
                                        </p:tgtEl>
                                        <p:attrNameLst>
                                          <p:attrName>style.visibility</p:attrName>
                                        </p:attrNameLst>
                                      </p:cBhvr>
                                      <p:to>
                                        <p:strVal val="visible"/>
                                      </p:to>
                                    </p:set>
                                    <p:animEffect transition="in" filter="wipe(right)">
                                      <p:cBhvr>
                                        <p:cTn id="18" dur="500"/>
                                        <p:tgtEl>
                                          <p:spTgt spid="45"/>
                                        </p:tgtEl>
                                      </p:cBhvr>
                                    </p:animEffect>
                                  </p:childTnLst>
                                </p:cTn>
                              </p:par>
                              <p:par>
                                <p:cTn id="19" presetID="22" presetClass="entr" presetSubtype="2" fill="hold" nodeType="withEffect">
                                  <p:stCondLst>
                                    <p:cond delay="500"/>
                                  </p:stCondLst>
                                  <p:childTnLst>
                                    <p:set>
                                      <p:cBhvr>
                                        <p:cTn id="20" dur="1" fill="hold">
                                          <p:stCondLst>
                                            <p:cond delay="0"/>
                                          </p:stCondLst>
                                        </p:cTn>
                                        <p:tgtEl>
                                          <p:spTgt spid="48"/>
                                        </p:tgtEl>
                                        <p:attrNameLst>
                                          <p:attrName>style.visibility</p:attrName>
                                        </p:attrNameLst>
                                      </p:cBhvr>
                                      <p:to>
                                        <p:strVal val="visible"/>
                                      </p:to>
                                    </p:set>
                                    <p:animEffect transition="in" filter="wipe(right)">
                                      <p:cBhvr>
                                        <p:cTn id="21" dur="500"/>
                                        <p:tgtEl>
                                          <p:spTgt spid="48"/>
                                        </p:tgtEl>
                                      </p:cBhvr>
                                    </p:animEffect>
                                  </p:childTnLst>
                                </p:cTn>
                              </p:par>
                              <p:par>
                                <p:cTn id="22" presetID="22" presetClass="entr" presetSubtype="2"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right)">
                                      <p:cBhvr>
                                        <p:cTn id="24" dur="500"/>
                                        <p:tgtEl>
                                          <p:spTgt spid="41"/>
                                        </p:tgtEl>
                                      </p:cBhvr>
                                    </p:animEffect>
                                  </p:childTnLst>
                                </p:cTn>
                              </p:par>
                              <p:par>
                                <p:cTn id="25" presetID="22" presetClass="entr" presetSubtype="2" fill="hold" grpId="0" nodeType="withEffect">
                                  <p:stCondLst>
                                    <p:cond delay="1000"/>
                                  </p:stCondLst>
                                  <p:childTnLst>
                                    <p:set>
                                      <p:cBhvr>
                                        <p:cTn id="26" dur="1" fill="hold">
                                          <p:stCondLst>
                                            <p:cond delay="0"/>
                                          </p:stCondLst>
                                        </p:cTn>
                                        <p:tgtEl>
                                          <p:spTgt spid="44"/>
                                        </p:tgtEl>
                                        <p:attrNameLst>
                                          <p:attrName>style.visibility</p:attrName>
                                        </p:attrNameLst>
                                      </p:cBhvr>
                                      <p:to>
                                        <p:strVal val="visible"/>
                                      </p:to>
                                    </p:set>
                                    <p:animEffect transition="in" filter="wipe(right)">
                                      <p:cBhvr>
                                        <p:cTn id="27" dur="500"/>
                                        <p:tgtEl>
                                          <p:spTgt spid="44"/>
                                        </p:tgtEl>
                                      </p:cBhvr>
                                    </p:animEffect>
                                  </p:childTnLst>
                                </p:cTn>
                              </p:par>
                            </p:childTnLst>
                          </p:cTn>
                        </p:par>
                        <p:par>
                          <p:cTn id="28" fill="hold">
                            <p:stCondLst>
                              <p:cond delay="500"/>
                            </p:stCondLst>
                            <p:childTnLst>
                              <p:par>
                                <p:cTn id="29" presetID="23" presetClass="entr" presetSubtype="16" fill="hold" grpId="0" nodeType="afterEffect">
                                  <p:stCondLst>
                                    <p:cond delay="0"/>
                                  </p:stCondLst>
                                  <p:iterate type="lt">
                                    <p:tmPct val="10000"/>
                                  </p:iterate>
                                  <p:childTnLst>
                                    <p:set>
                                      <p:cBhvr>
                                        <p:cTn id="30" dur="1" fill="hold">
                                          <p:stCondLst>
                                            <p:cond delay="0"/>
                                          </p:stCondLst>
                                        </p:cTn>
                                        <p:tgtEl>
                                          <p:spTgt spid="51"/>
                                        </p:tgtEl>
                                        <p:attrNameLst>
                                          <p:attrName>style.visibility</p:attrName>
                                        </p:attrNameLst>
                                      </p:cBhvr>
                                      <p:to>
                                        <p:strVal val="visible"/>
                                      </p:to>
                                    </p:set>
                                    <p:anim calcmode="lin" valueType="num">
                                      <p:cBhvr>
                                        <p:cTn id="31" dur="250" fill="hold"/>
                                        <p:tgtEl>
                                          <p:spTgt spid="51"/>
                                        </p:tgtEl>
                                        <p:attrNameLst>
                                          <p:attrName>ppt_w</p:attrName>
                                        </p:attrNameLst>
                                      </p:cBhvr>
                                      <p:tavLst>
                                        <p:tav tm="0">
                                          <p:val>
                                            <p:fltVal val="0"/>
                                          </p:val>
                                        </p:tav>
                                        <p:tav tm="100000">
                                          <p:val>
                                            <p:strVal val="#ppt_w"/>
                                          </p:val>
                                        </p:tav>
                                      </p:tavLst>
                                    </p:anim>
                                    <p:anim calcmode="lin" valueType="num">
                                      <p:cBhvr>
                                        <p:cTn id="32" dur="250" fill="hold"/>
                                        <p:tgtEl>
                                          <p:spTgt spid="51"/>
                                        </p:tgtEl>
                                        <p:attrNameLst>
                                          <p:attrName>ppt_h</p:attrName>
                                        </p:attrNameLst>
                                      </p:cBhvr>
                                      <p:tavLst>
                                        <p:tav tm="0">
                                          <p:val>
                                            <p:fltVal val="0"/>
                                          </p:val>
                                        </p:tav>
                                        <p:tav tm="100000">
                                          <p:val>
                                            <p:strVal val="#ppt_h"/>
                                          </p:val>
                                        </p:tav>
                                      </p:tavLst>
                                    </p:anim>
                                  </p:childTnLst>
                                </p:cTn>
                              </p:par>
                            </p:childTnLst>
                          </p:cTn>
                        </p:par>
                        <p:par>
                          <p:cTn id="33" fill="hold">
                            <p:stCondLst>
                              <p:cond delay="1899"/>
                            </p:stCondLst>
                            <p:childTnLst>
                              <p:par>
                                <p:cTn id="34" presetID="14" presetClass="entr" presetSubtype="10" fill="hold" grpId="0" nodeType="after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randombar(horizontal)">
                                      <p:cBhvr>
                                        <p:cTn id="36" dur="250"/>
                                        <p:tgtEl>
                                          <p:spTgt spid="52"/>
                                        </p:tgtEl>
                                      </p:cBhvr>
                                    </p:animEffect>
                                  </p:childTnLst>
                                </p:cTn>
                              </p:par>
                            </p:childTnLst>
                          </p:cTn>
                        </p:par>
                        <p:par>
                          <p:cTn id="37" fill="hold">
                            <p:stCondLst>
                              <p:cond delay="2399"/>
                            </p:stCondLst>
                            <p:childTnLst>
                              <p:par>
                                <p:cTn id="38" presetID="23" presetClass="entr" presetSubtype="16" fill="hold" grpId="0" nodeType="afterEffect">
                                  <p:stCondLst>
                                    <p:cond delay="0"/>
                                  </p:stCondLst>
                                  <p:iterate type="lt">
                                    <p:tmPct val="10000"/>
                                  </p:iterate>
                                  <p:childTnLst>
                                    <p:set>
                                      <p:cBhvr>
                                        <p:cTn id="39" dur="1" fill="hold">
                                          <p:stCondLst>
                                            <p:cond delay="0"/>
                                          </p:stCondLst>
                                        </p:cTn>
                                        <p:tgtEl>
                                          <p:spTgt spid="53"/>
                                        </p:tgtEl>
                                        <p:attrNameLst>
                                          <p:attrName>style.visibility</p:attrName>
                                        </p:attrNameLst>
                                      </p:cBhvr>
                                      <p:to>
                                        <p:strVal val="visible"/>
                                      </p:to>
                                    </p:set>
                                    <p:anim calcmode="lin" valueType="num">
                                      <p:cBhvr>
                                        <p:cTn id="40" dur="250" fill="hold"/>
                                        <p:tgtEl>
                                          <p:spTgt spid="53"/>
                                        </p:tgtEl>
                                        <p:attrNameLst>
                                          <p:attrName>ppt_w</p:attrName>
                                        </p:attrNameLst>
                                      </p:cBhvr>
                                      <p:tavLst>
                                        <p:tav tm="0">
                                          <p:val>
                                            <p:fltVal val="0"/>
                                          </p:val>
                                        </p:tav>
                                        <p:tav tm="100000">
                                          <p:val>
                                            <p:strVal val="#ppt_w"/>
                                          </p:val>
                                        </p:tav>
                                      </p:tavLst>
                                    </p:anim>
                                    <p:anim calcmode="lin" valueType="num">
                                      <p:cBhvr>
                                        <p:cTn id="41" dur="250" fill="hold"/>
                                        <p:tgtEl>
                                          <p:spTgt spid="53"/>
                                        </p:tgtEl>
                                        <p:attrNameLst>
                                          <p:attrName>ppt_h</p:attrName>
                                        </p:attrNameLst>
                                      </p:cBhvr>
                                      <p:tavLst>
                                        <p:tav tm="0">
                                          <p:val>
                                            <p:fltVal val="0"/>
                                          </p:val>
                                        </p:tav>
                                        <p:tav tm="100000">
                                          <p:val>
                                            <p:strVal val="#ppt_h"/>
                                          </p:val>
                                        </p:tav>
                                      </p:tavLst>
                                    </p:anim>
                                  </p:childTnLst>
                                </p:cTn>
                              </p:par>
                            </p:childTnLst>
                          </p:cTn>
                        </p:par>
                        <p:par>
                          <p:cTn id="42" fill="hold">
                            <p:stCondLst>
                              <p:cond delay="2549"/>
                            </p:stCondLst>
                            <p:childTnLst>
                              <p:par>
                                <p:cTn id="43" presetID="14" presetClass="entr" presetSubtype="10" fill="hold" grpId="0" nodeType="after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randombar(horizontal)">
                                      <p:cBhvr>
                                        <p:cTn id="45" dur="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41" grpId="0" animBg="1"/>
      <p:bldP spid="44" grpId="0" animBg="1"/>
      <p:bldP spid="51" grpId="0"/>
      <p:bldP spid="52" grpId="0"/>
      <p:bldP spid="53" grpId="0"/>
      <p:bldP spid="5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淘宝网chenying0907出品 36"/>
          <p:cNvSpPr>
            <a:spLocks noChangeArrowheads="1"/>
          </p:cNvSpPr>
          <p:nvPr/>
        </p:nvSpPr>
        <p:spPr bwMode="auto">
          <a:xfrm>
            <a:off x="1331640" y="2620777"/>
            <a:ext cx="914722" cy="1691217"/>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0" name="淘宝网chenying0907出品 37"/>
          <p:cNvSpPr>
            <a:spLocks noChangeArrowheads="1"/>
          </p:cNvSpPr>
          <p:nvPr/>
        </p:nvSpPr>
        <p:spPr bwMode="auto">
          <a:xfrm>
            <a:off x="2414929" y="2151119"/>
            <a:ext cx="914722" cy="2160875"/>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1" name="淘宝网chenying0907出品 38"/>
          <p:cNvSpPr>
            <a:spLocks noChangeArrowheads="1"/>
          </p:cNvSpPr>
          <p:nvPr/>
        </p:nvSpPr>
        <p:spPr bwMode="auto">
          <a:xfrm>
            <a:off x="3493259" y="2503362"/>
            <a:ext cx="919680" cy="1808632"/>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2" name="淘宝网chenying0907出品 39"/>
          <p:cNvSpPr>
            <a:spLocks noChangeArrowheads="1"/>
          </p:cNvSpPr>
          <p:nvPr/>
        </p:nvSpPr>
        <p:spPr bwMode="auto">
          <a:xfrm>
            <a:off x="4576547" y="3090434"/>
            <a:ext cx="917201" cy="1221560"/>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3" name="淘宝网chenying0907出品 40"/>
          <p:cNvSpPr>
            <a:spLocks noChangeArrowheads="1"/>
          </p:cNvSpPr>
          <p:nvPr/>
        </p:nvSpPr>
        <p:spPr bwMode="auto">
          <a:xfrm>
            <a:off x="5659835" y="3467514"/>
            <a:ext cx="912243" cy="844480"/>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sp>
        <p:nvSpPr>
          <p:cNvPr id="94" name="淘宝网chenying0907出品 41"/>
          <p:cNvSpPr>
            <a:spLocks noChangeArrowheads="1"/>
          </p:cNvSpPr>
          <p:nvPr/>
        </p:nvSpPr>
        <p:spPr bwMode="auto">
          <a:xfrm>
            <a:off x="6735687" y="2923345"/>
            <a:ext cx="919680" cy="1388649"/>
          </a:xfrm>
          <a:prstGeom prst="rect">
            <a:avLst/>
          </a:prstGeom>
          <a:solidFill>
            <a:srgbClr val="2C53B6"/>
          </a:solidFill>
          <a:ln>
            <a:noFill/>
          </a:ln>
        </p:spPr>
        <p:txBody>
          <a:bodyPr vert="horz" wrap="square" lIns="91440" tIns="45720" rIns="91440" bIns="45720" numCol="1" anchor="t" anchorCtr="0" compatLnSpc="1"/>
          <a:lstStyle/>
          <a:p>
            <a:endParaRPr lang="zh-CN" altLang="en-US"/>
          </a:p>
        </p:txBody>
      </p:sp>
      <p:grpSp>
        <p:nvGrpSpPr>
          <p:cNvPr id="95" name="淘宝网chenying0907出品 48"/>
          <p:cNvGrpSpPr/>
          <p:nvPr/>
        </p:nvGrpSpPr>
        <p:grpSpPr>
          <a:xfrm>
            <a:off x="6893631" y="2127397"/>
            <a:ext cx="609736" cy="553346"/>
            <a:chOff x="7295074" y="3061899"/>
            <a:chExt cx="657551" cy="655133"/>
          </a:xfrm>
          <a:solidFill>
            <a:srgbClr val="2C53B6"/>
          </a:solidFill>
        </p:grpSpPr>
        <p:sp>
          <p:nvSpPr>
            <p:cNvPr id="96" name="淘宝网chenying0907出品 47"/>
            <p:cNvSpPr>
              <a:spLocks noChangeArrowheads="1"/>
            </p:cNvSpPr>
            <p:nvPr/>
          </p:nvSpPr>
          <p:spPr bwMode="auto">
            <a:xfrm>
              <a:off x="7660112" y="3613082"/>
              <a:ext cx="159553" cy="24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7" name="淘宝网chenying0907出品 48"/>
            <p:cNvSpPr>
              <a:spLocks noEditPoints="1"/>
            </p:cNvSpPr>
            <p:nvPr/>
          </p:nvSpPr>
          <p:spPr bwMode="auto">
            <a:xfrm>
              <a:off x="7295074" y="3061899"/>
              <a:ext cx="657551" cy="655133"/>
            </a:xfrm>
            <a:custGeom>
              <a:avLst/>
              <a:gdLst>
                <a:gd name="T0" fmla="*/ 98 w 115"/>
                <a:gd name="T1" fmla="*/ 19 h 115"/>
                <a:gd name="T2" fmla="*/ 17 w 115"/>
                <a:gd name="T3" fmla="*/ 0 h 115"/>
                <a:gd name="T4" fmla="*/ 16 w 115"/>
                <a:gd name="T5" fmla="*/ 37 h 115"/>
                <a:gd name="T6" fmla="*/ 0 w 115"/>
                <a:gd name="T7" fmla="*/ 79 h 115"/>
                <a:gd name="T8" fmla="*/ 17 w 115"/>
                <a:gd name="T9" fmla="*/ 95 h 115"/>
                <a:gd name="T10" fmla="*/ 98 w 115"/>
                <a:gd name="T11" fmla="*/ 115 h 115"/>
                <a:gd name="T12" fmla="*/ 99 w 115"/>
                <a:gd name="T13" fmla="*/ 77 h 115"/>
                <a:gd name="T14" fmla="*/ 115 w 115"/>
                <a:gd name="T15" fmla="*/ 35 h 115"/>
                <a:gd name="T16" fmla="*/ 19 w 115"/>
                <a:gd name="T17" fmla="*/ 6 h 115"/>
                <a:gd name="T18" fmla="*/ 95 w 115"/>
                <a:gd name="T19" fmla="*/ 10 h 115"/>
                <a:gd name="T20" fmla="*/ 19 w 115"/>
                <a:gd name="T21" fmla="*/ 6 h 115"/>
                <a:gd name="T22" fmla="*/ 95 w 115"/>
                <a:gd name="T23" fmla="*/ 19 h 115"/>
                <a:gd name="T24" fmla="*/ 76 w 115"/>
                <a:gd name="T25" fmla="*/ 16 h 115"/>
                <a:gd name="T26" fmla="*/ 19 w 115"/>
                <a:gd name="T27" fmla="*/ 16 h 115"/>
                <a:gd name="T28" fmla="*/ 63 w 115"/>
                <a:gd name="T29" fmla="*/ 20 h 115"/>
                <a:gd name="T30" fmla="*/ 22 w 115"/>
                <a:gd name="T31" fmla="*/ 25 h 115"/>
                <a:gd name="T32" fmla="*/ 54 w 115"/>
                <a:gd name="T33" fmla="*/ 30 h 115"/>
                <a:gd name="T34" fmla="*/ 22 w 115"/>
                <a:gd name="T35" fmla="*/ 34 h 115"/>
                <a:gd name="T36" fmla="*/ 56 w 115"/>
                <a:gd name="T37" fmla="*/ 39 h 115"/>
                <a:gd name="T38" fmla="*/ 22 w 115"/>
                <a:gd name="T39" fmla="*/ 44 h 115"/>
                <a:gd name="T40" fmla="*/ 65 w 115"/>
                <a:gd name="T41" fmla="*/ 49 h 115"/>
                <a:gd name="T42" fmla="*/ 22 w 115"/>
                <a:gd name="T43" fmla="*/ 54 h 115"/>
                <a:gd name="T44" fmla="*/ 75 w 115"/>
                <a:gd name="T45" fmla="*/ 58 h 115"/>
                <a:gd name="T46" fmla="*/ 39 w 115"/>
                <a:gd name="T47" fmla="*/ 54 h 115"/>
                <a:gd name="T48" fmla="*/ 22 w 115"/>
                <a:gd name="T49" fmla="*/ 58 h 115"/>
                <a:gd name="T50" fmla="*/ 39 w 115"/>
                <a:gd name="T51" fmla="*/ 63 h 115"/>
                <a:gd name="T52" fmla="*/ 19 w 115"/>
                <a:gd name="T53" fmla="*/ 66 h 115"/>
                <a:gd name="T54" fmla="*/ 16 w 115"/>
                <a:gd name="T55" fmla="*/ 92 h 115"/>
                <a:gd name="T56" fmla="*/ 2 w 115"/>
                <a:gd name="T57" fmla="*/ 62 h 115"/>
                <a:gd name="T58" fmla="*/ 16 w 115"/>
                <a:gd name="T59" fmla="*/ 69 h 115"/>
                <a:gd name="T60" fmla="*/ 41 w 115"/>
                <a:gd name="T61" fmla="*/ 61 h 115"/>
                <a:gd name="T62" fmla="*/ 41 w 115"/>
                <a:gd name="T63" fmla="*/ 101 h 115"/>
                <a:gd name="T64" fmla="*/ 16 w 115"/>
                <a:gd name="T65" fmla="*/ 92 h 115"/>
                <a:gd name="T66" fmla="*/ 19 w 115"/>
                <a:gd name="T67" fmla="*/ 112 h 115"/>
                <a:gd name="T68" fmla="*/ 39 w 115"/>
                <a:gd name="T69" fmla="*/ 95 h 115"/>
                <a:gd name="T70" fmla="*/ 53 w 115"/>
                <a:gd name="T71" fmla="*/ 92 h 115"/>
                <a:gd name="T72" fmla="*/ 92 w 115"/>
                <a:gd name="T73" fmla="*/ 87 h 115"/>
                <a:gd name="T74" fmla="*/ 63 w 115"/>
                <a:gd name="T75" fmla="*/ 82 h 115"/>
                <a:gd name="T76" fmla="*/ 92 w 115"/>
                <a:gd name="T77" fmla="*/ 77 h 115"/>
                <a:gd name="T78" fmla="*/ 57 w 115"/>
                <a:gd name="T79" fmla="*/ 73 h 115"/>
                <a:gd name="T80" fmla="*/ 92 w 115"/>
                <a:gd name="T81" fmla="*/ 68 h 115"/>
                <a:gd name="T82" fmla="*/ 47 w 115"/>
                <a:gd name="T83" fmla="*/ 63 h 115"/>
                <a:gd name="T84" fmla="*/ 92 w 115"/>
                <a:gd name="T85" fmla="*/ 58 h 115"/>
                <a:gd name="T86" fmla="*/ 76 w 115"/>
                <a:gd name="T87" fmla="*/ 54 h 115"/>
                <a:gd name="T88" fmla="*/ 92 w 115"/>
                <a:gd name="T89" fmla="*/ 49 h 115"/>
                <a:gd name="T90" fmla="*/ 76 w 115"/>
                <a:gd name="T91" fmla="*/ 47 h 115"/>
                <a:gd name="T92" fmla="*/ 95 w 115"/>
                <a:gd name="T93" fmla="*/ 112 h 115"/>
                <a:gd name="T94" fmla="*/ 106 w 115"/>
                <a:gd name="T95" fmla="*/ 47 h 115"/>
                <a:gd name="T96" fmla="*/ 73 w 115"/>
                <a:gd name="T97" fmla="*/ 45 h 115"/>
                <a:gd name="T98" fmla="*/ 54 w 115"/>
                <a:gd name="T99" fmla="*/ 33 h 115"/>
                <a:gd name="T100" fmla="*/ 73 w 115"/>
                <a:gd name="T101" fmla="*/ 21 h 115"/>
                <a:gd name="T102" fmla="*/ 112 w 115"/>
                <a:gd name="T103"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15">
                  <a:moveTo>
                    <a:pt x="99" y="19"/>
                  </a:moveTo>
                  <a:cubicBezTo>
                    <a:pt x="98" y="19"/>
                    <a:pt x="98" y="19"/>
                    <a:pt x="98" y="19"/>
                  </a:cubicBezTo>
                  <a:cubicBezTo>
                    <a:pt x="98" y="0"/>
                    <a:pt x="98" y="0"/>
                    <a:pt x="98" y="0"/>
                  </a:cubicBezTo>
                  <a:cubicBezTo>
                    <a:pt x="17" y="0"/>
                    <a:pt x="17" y="0"/>
                    <a:pt x="17" y="0"/>
                  </a:cubicBezTo>
                  <a:cubicBezTo>
                    <a:pt x="17" y="37"/>
                    <a:pt x="17" y="37"/>
                    <a:pt x="17" y="37"/>
                  </a:cubicBezTo>
                  <a:cubicBezTo>
                    <a:pt x="16" y="37"/>
                    <a:pt x="16" y="37"/>
                    <a:pt x="16" y="37"/>
                  </a:cubicBezTo>
                  <a:cubicBezTo>
                    <a:pt x="7" y="37"/>
                    <a:pt x="0" y="44"/>
                    <a:pt x="0" y="53"/>
                  </a:cubicBezTo>
                  <a:cubicBezTo>
                    <a:pt x="0" y="79"/>
                    <a:pt x="0" y="79"/>
                    <a:pt x="0" y="79"/>
                  </a:cubicBezTo>
                  <a:cubicBezTo>
                    <a:pt x="0" y="88"/>
                    <a:pt x="7" y="95"/>
                    <a:pt x="16" y="95"/>
                  </a:cubicBezTo>
                  <a:cubicBezTo>
                    <a:pt x="17" y="95"/>
                    <a:pt x="17" y="95"/>
                    <a:pt x="17" y="95"/>
                  </a:cubicBezTo>
                  <a:cubicBezTo>
                    <a:pt x="17" y="115"/>
                    <a:pt x="17" y="115"/>
                    <a:pt x="17" y="115"/>
                  </a:cubicBezTo>
                  <a:cubicBezTo>
                    <a:pt x="98" y="115"/>
                    <a:pt x="98" y="115"/>
                    <a:pt x="98" y="115"/>
                  </a:cubicBezTo>
                  <a:cubicBezTo>
                    <a:pt x="98" y="77"/>
                    <a:pt x="98" y="77"/>
                    <a:pt x="98" y="77"/>
                  </a:cubicBezTo>
                  <a:cubicBezTo>
                    <a:pt x="99" y="77"/>
                    <a:pt x="99" y="77"/>
                    <a:pt x="99" y="77"/>
                  </a:cubicBezTo>
                  <a:cubicBezTo>
                    <a:pt x="108" y="77"/>
                    <a:pt x="115" y="70"/>
                    <a:pt x="115" y="61"/>
                  </a:cubicBezTo>
                  <a:cubicBezTo>
                    <a:pt x="115" y="35"/>
                    <a:pt x="115" y="35"/>
                    <a:pt x="115" y="35"/>
                  </a:cubicBezTo>
                  <a:cubicBezTo>
                    <a:pt x="115" y="26"/>
                    <a:pt x="108" y="19"/>
                    <a:pt x="99" y="19"/>
                  </a:cubicBezTo>
                  <a:close/>
                  <a:moveTo>
                    <a:pt x="19" y="6"/>
                  </a:moveTo>
                  <a:cubicBezTo>
                    <a:pt x="95" y="6"/>
                    <a:pt x="95" y="6"/>
                    <a:pt x="95" y="6"/>
                  </a:cubicBezTo>
                  <a:cubicBezTo>
                    <a:pt x="95" y="10"/>
                    <a:pt x="95" y="10"/>
                    <a:pt x="95" y="10"/>
                  </a:cubicBezTo>
                  <a:cubicBezTo>
                    <a:pt x="19" y="10"/>
                    <a:pt x="19" y="10"/>
                    <a:pt x="19" y="10"/>
                  </a:cubicBezTo>
                  <a:lnTo>
                    <a:pt x="19" y="6"/>
                  </a:lnTo>
                  <a:close/>
                  <a:moveTo>
                    <a:pt x="95" y="16"/>
                  </a:moveTo>
                  <a:cubicBezTo>
                    <a:pt x="95" y="19"/>
                    <a:pt x="95" y="19"/>
                    <a:pt x="95" y="19"/>
                  </a:cubicBezTo>
                  <a:cubicBezTo>
                    <a:pt x="76" y="19"/>
                    <a:pt x="76" y="19"/>
                    <a:pt x="76" y="19"/>
                  </a:cubicBezTo>
                  <a:cubicBezTo>
                    <a:pt x="76" y="16"/>
                    <a:pt x="76" y="16"/>
                    <a:pt x="76" y="16"/>
                  </a:cubicBezTo>
                  <a:lnTo>
                    <a:pt x="95" y="16"/>
                  </a:lnTo>
                  <a:close/>
                  <a:moveTo>
                    <a:pt x="19" y="16"/>
                  </a:moveTo>
                  <a:cubicBezTo>
                    <a:pt x="67" y="16"/>
                    <a:pt x="67" y="16"/>
                    <a:pt x="67" y="16"/>
                  </a:cubicBezTo>
                  <a:cubicBezTo>
                    <a:pt x="63" y="20"/>
                    <a:pt x="63" y="20"/>
                    <a:pt x="63" y="20"/>
                  </a:cubicBezTo>
                  <a:cubicBezTo>
                    <a:pt x="22" y="20"/>
                    <a:pt x="22" y="20"/>
                    <a:pt x="22" y="20"/>
                  </a:cubicBezTo>
                  <a:cubicBezTo>
                    <a:pt x="22" y="25"/>
                    <a:pt x="22" y="25"/>
                    <a:pt x="22" y="25"/>
                  </a:cubicBezTo>
                  <a:cubicBezTo>
                    <a:pt x="59" y="25"/>
                    <a:pt x="59" y="25"/>
                    <a:pt x="59" y="25"/>
                  </a:cubicBezTo>
                  <a:cubicBezTo>
                    <a:pt x="54" y="30"/>
                    <a:pt x="54" y="30"/>
                    <a:pt x="54" y="30"/>
                  </a:cubicBezTo>
                  <a:cubicBezTo>
                    <a:pt x="22" y="30"/>
                    <a:pt x="22" y="30"/>
                    <a:pt x="22" y="30"/>
                  </a:cubicBezTo>
                  <a:cubicBezTo>
                    <a:pt x="22" y="34"/>
                    <a:pt x="22" y="34"/>
                    <a:pt x="22" y="34"/>
                  </a:cubicBezTo>
                  <a:cubicBezTo>
                    <a:pt x="52" y="34"/>
                    <a:pt x="52" y="34"/>
                    <a:pt x="52" y="34"/>
                  </a:cubicBezTo>
                  <a:cubicBezTo>
                    <a:pt x="56" y="39"/>
                    <a:pt x="56" y="39"/>
                    <a:pt x="56" y="39"/>
                  </a:cubicBezTo>
                  <a:cubicBezTo>
                    <a:pt x="22" y="39"/>
                    <a:pt x="22" y="39"/>
                    <a:pt x="22" y="39"/>
                  </a:cubicBezTo>
                  <a:cubicBezTo>
                    <a:pt x="22" y="44"/>
                    <a:pt x="22" y="44"/>
                    <a:pt x="22" y="44"/>
                  </a:cubicBezTo>
                  <a:cubicBezTo>
                    <a:pt x="61" y="44"/>
                    <a:pt x="61" y="44"/>
                    <a:pt x="61" y="44"/>
                  </a:cubicBezTo>
                  <a:cubicBezTo>
                    <a:pt x="65" y="49"/>
                    <a:pt x="65" y="49"/>
                    <a:pt x="65" y="49"/>
                  </a:cubicBezTo>
                  <a:cubicBezTo>
                    <a:pt x="22" y="49"/>
                    <a:pt x="22" y="49"/>
                    <a:pt x="22" y="49"/>
                  </a:cubicBezTo>
                  <a:cubicBezTo>
                    <a:pt x="22" y="54"/>
                    <a:pt x="22" y="54"/>
                    <a:pt x="22" y="54"/>
                  </a:cubicBezTo>
                  <a:cubicBezTo>
                    <a:pt x="70" y="54"/>
                    <a:pt x="70" y="54"/>
                    <a:pt x="70" y="54"/>
                  </a:cubicBezTo>
                  <a:cubicBezTo>
                    <a:pt x="75" y="58"/>
                    <a:pt x="75" y="58"/>
                    <a:pt x="75" y="58"/>
                  </a:cubicBezTo>
                  <a:cubicBezTo>
                    <a:pt x="43" y="58"/>
                    <a:pt x="43" y="58"/>
                    <a:pt x="43" y="58"/>
                  </a:cubicBezTo>
                  <a:cubicBezTo>
                    <a:pt x="39" y="54"/>
                    <a:pt x="39" y="54"/>
                    <a:pt x="39" y="54"/>
                  </a:cubicBezTo>
                  <a:cubicBezTo>
                    <a:pt x="39" y="58"/>
                    <a:pt x="39" y="58"/>
                    <a:pt x="39" y="58"/>
                  </a:cubicBezTo>
                  <a:cubicBezTo>
                    <a:pt x="22" y="58"/>
                    <a:pt x="22" y="58"/>
                    <a:pt x="22" y="58"/>
                  </a:cubicBezTo>
                  <a:cubicBezTo>
                    <a:pt x="22" y="63"/>
                    <a:pt x="22" y="63"/>
                    <a:pt x="22" y="63"/>
                  </a:cubicBezTo>
                  <a:cubicBezTo>
                    <a:pt x="39" y="63"/>
                    <a:pt x="39" y="63"/>
                    <a:pt x="39" y="63"/>
                  </a:cubicBezTo>
                  <a:cubicBezTo>
                    <a:pt x="39" y="66"/>
                    <a:pt x="39" y="66"/>
                    <a:pt x="39" y="66"/>
                  </a:cubicBezTo>
                  <a:cubicBezTo>
                    <a:pt x="19" y="66"/>
                    <a:pt x="19" y="66"/>
                    <a:pt x="19" y="66"/>
                  </a:cubicBezTo>
                  <a:lnTo>
                    <a:pt x="19" y="16"/>
                  </a:lnTo>
                  <a:close/>
                  <a:moveTo>
                    <a:pt x="16" y="92"/>
                  </a:moveTo>
                  <a:cubicBezTo>
                    <a:pt x="8" y="92"/>
                    <a:pt x="2" y="86"/>
                    <a:pt x="2" y="79"/>
                  </a:cubicBezTo>
                  <a:cubicBezTo>
                    <a:pt x="2" y="62"/>
                    <a:pt x="2" y="62"/>
                    <a:pt x="2" y="62"/>
                  </a:cubicBezTo>
                  <a:cubicBezTo>
                    <a:pt x="4" y="64"/>
                    <a:pt x="6" y="66"/>
                    <a:pt x="8" y="67"/>
                  </a:cubicBezTo>
                  <a:cubicBezTo>
                    <a:pt x="10" y="68"/>
                    <a:pt x="13" y="69"/>
                    <a:pt x="16" y="69"/>
                  </a:cubicBezTo>
                  <a:cubicBezTo>
                    <a:pt x="41" y="69"/>
                    <a:pt x="41" y="69"/>
                    <a:pt x="41" y="69"/>
                  </a:cubicBezTo>
                  <a:cubicBezTo>
                    <a:pt x="41" y="61"/>
                    <a:pt x="41" y="61"/>
                    <a:pt x="41" y="61"/>
                  </a:cubicBezTo>
                  <a:cubicBezTo>
                    <a:pt x="61" y="81"/>
                    <a:pt x="61" y="81"/>
                    <a:pt x="61" y="81"/>
                  </a:cubicBezTo>
                  <a:cubicBezTo>
                    <a:pt x="41" y="101"/>
                    <a:pt x="41" y="101"/>
                    <a:pt x="41" y="101"/>
                  </a:cubicBezTo>
                  <a:cubicBezTo>
                    <a:pt x="41" y="92"/>
                    <a:pt x="41" y="92"/>
                    <a:pt x="41" y="92"/>
                  </a:cubicBezTo>
                  <a:lnTo>
                    <a:pt x="16" y="92"/>
                  </a:lnTo>
                  <a:close/>
                  <a:moveTo>
                    <a:pt x="95" y="112"/>
                  </a:moveTo>
                  <a:cubicBezTo>
                    <a:pt x="19" y="112"/>
                    <a:pt x="19" y="112"/>
                    <a:pt x="19" y="112"/>
                  </a:cubicBezTo>
                  <a:cubicBezTo>
                    <a:pt x="19" y="95"/>
                    <a:pt x="19" y="95"/>
                    <a:pt x="19" y="95"/>
                  </a:cubicBezTo>
                  <a:cubicBezTo>
                    <a:pt x="39" y="95"/>
                    <a:pt x="39" y="95"/>
                    <a:pt x="39" y="95"/>
                  </a:cubicBezTo>
                  <a:cubicBezTo>
                    <a:pt x="39" y="107"/>
                    <a:pt x="39" y="107"/>
                    <a:pt x="39" y="107"/>
                  </a:cubicBezTo>
                  <a:cubicBezTo>
                    <a:pt x="53" y="92"/>
                    <a:pt x="53" y="92"/>
                    <a:pt x="53" y="92"/>
                  </a:cubicBezTo>
                  <a:cubicBezTo>
                    <a:pt x="92" y="92"/>
                    <a:pt x="92" y="92"/>
                    <a:pt x="92" y="92"/>
                  </a:cubicBezTo>
                  <a:cubicBezTo>
                    <a:pt x="92" y="87"/>
                    <a:pt x="92" y="87"/>
                    <a:pt x="92" y="87"/>
                  </a:cubicBezTo>
                  <a:cubicBezTo>
                    <a:pt x="58" y="87"/>
                    <a:pt x="58" y="87"/>
                    <a:pt x="58" y="87"/>
                  </a:cubicBezTo>
                  <a:cubicBezTo>
                    <a:pt x="63" y="82"/>
                    <a:pt x="63" y="82"/>
                    <a:pt x="63" y="82"/>
                  </a:cubicBezTo>
                  <a:cubicBezTo>
                    <a:pt x="92" y="82"/>
                    <a:pt x="92" y="82"/>
                    <a:pt x="92" y="82"/>
                  </a:cubicBezTo>
                  <a:cubicBezTo>
                    <a:pt x="92" y="77"/>
                    <a:pt x="92" y="77"/>
                    <a:pt x="92" y="77"/>
                  </a:cubicBezTo>
                  <a:cubicBezTo>
                    <a:pt x="61" y="77"/>
                    <a:pt x="61" y="77"/>
                    <a:pt x="61" y="77"/>
                  </a:cubicBezTo>
                  <a:cubicBezTo>
                    <a:pt x="57" y="73"/>
                    <a:pt x="57" y="73"/>
                    <a:pt x="57" y="73"/>
                  </a:cubicBezTo>
                  <a:cubicBezTo>
                    <a:pt x="92" y="73"/>
                    <a:pt x="92" y="73"/>
                    <a:pt x="92" y="73"/>
                  </a:cubicBezTo>
                  <a:cubicBezTo>
                    <a:pt x="92" y="68"/>
                    <a:pt x="92" y="68"/>
                    <a:pt x="92" y="68"/>
                  </a:cubicBezTo>
                  <a:cubicBezTo>
                    <a:pt x="52" y="68"/>
                    <a:pt x="52" y="68"/>
                    <a:pt x="52" y="68"/>
                  </a:cubicBezTo>
                  <a:cubicBezTo>
                    <a:pt x="47" y="63"/>
                    <a:pt x="47" y="63"/>
                    <a:pt x="47" y="63"/>
                  </a:cubicBezTo>
                  <a:cubicBezTo>
                    <a:pt x="92" y="63"/>
                    <a:pt x="92" y="63"/>
                    <a:pt x="92" y="63"/>
                  </a:cubicBezTo>
                  <a:cubicBezTo>
                    <a:pt x="92" y="58"/>
                    <a:pt x="92" y="58"/>
                    <a:pt x="92" y="58"/>
                  </a:cubicBezTo>
                  <a:cubicBezTo>
                    <a:pt x="76" y="58"/>
                    <a:pt x="76" y="58"/>
                    <a:pt x="76" y="58"/>
                  </a:cubicBezTo>
                  <a:cubicBezTo>
                    <a:pt x="76" y="54"/>
                    <a:pt x="76" y="54"/>
                    <a:pt x="76" y="54"/>
                  </a:cubicBezTo>
                  <a:cubicBezTo>
                    <a:pt x="92" y="54"/>
                    <a:pt x="92" y="54"/>
                    <a:pt x="92" y="54"/>
                  </a:cubicBezTo>
                  <a:cubicBezTo>
                    <a:pt x="92" y="49"/>
                    <a:pt x="92" y="49"/>
                    <a:pt x="92" y="49"/>
                  </a:cubicBezTo>
                  <a:cubicBezTo>
                    <a:pt x="76" y="49"/>
                    <a:pt x="76" y="49"/>
                    <a:pt x="76" y="49"/>
                  </a:cubicBezTo>
                  <a:cubicBezTo>
                    <a:pt x="76" y="47"/>
                    <a:pt x="76" y="47"/>
                    <a:pt x="76" y="47"/>
                  </a:cubicBezTo>
                  <a:cubicBezTo>
                    <a:pt x="95" y="47"/>
                    <a:pt x="95" y="47"/>
                    <a:pt x="95" y="47"/>
                  </a:cubicBezTo>
                  <a:lnTo>
                    <a:pt x="95" y="112"/>
                  </a:lnTo>
                  <a:close/>
                  <a:moveTo>
                    <a:pt x="112" y="52"/>
                  </a:moveTo>
                  <a:cubicBezTo>
                    <a:pt x="111" y="50"/>
                    <a:pt x="109" y="48"/>
                    <a:pt x="106" y="47"/>
                  </a:cubicBezTo>
                  <a:cubicBezTo>
                    <a:pt x="104" y="45"/>
                    <a:pt x="102" y="45"/>
                    <a:pt x="99" y="45"/>
                  </a:cubicBezTo>
                  <a:cubicBezTo>
                    <a:pt x="73" y="45"/>
                    <a:pt x="73" y="45"/>
                    <a:pt x="73" y="45"/>
                  </a:cubicBezTo>
                  <a:cubicBezTo>
                    <a:pt x="73" y="53"/>
                    <a:pt x="73" y="53"/>
                    <a:pt x="73" y="53"/>
                  </a:cubicBezTo>
                  <a:cubicBezTo>
                    <a:pt x="54" y="33"/>
                    <a:pt x="54" y="33"/>
                    <a:pt x="54" y="33"/>
                  </a:cubicBezTo>
                  <a:cubicBezTo>
                    <a:pt x="73" y="13"/>
                    <a:pt x="73" y="13"/>
                    <a:pt x="73" y="13"/>
                  </a:cubicBezTo>
                  <a:cubicBezTo>
                    <a:pt x="73" y="21"/>
                    <a:pt x="73" y="21"/>
                    <a:pt x="73" y="21"/>
                  </a:cubicBezTo>
                  <a:cubicBezTo>
                    <a:pt x="99" y="21"/>
                    <a:pt x="99" y="21"/>
                    <a:pt x="99" y="21"/>
                  </a:cubicBezTo>
                  <a:cubicBezTo>
                    <a:pt x="106" y="21"/>
                    <a:pt x="112" y="27"/>
                    <a:pt x="112" y="35"/>
                  </a:cubicBezTo>
                  <a:lnTo>
                    <a:pt x="112" y="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98" name="淘宝网chenying0907出品 53"/>
          <p:cNvSpPr>
            <a:spLocks noEditPoints="1"/>
          </p:cNvSpPr>
          <p:nvPr/>
        </p:nvSpPr>
        <p:spPr bwMode="auto">
          <a:xfrm>
            <a:off x="5860744" y="2685437"/>
            <a:ext cx="568908" cy="544386"/>
          </a:xfrm>
          <a:custGeom>
            <a:avLst/>
            <a:gdLst>
              <a:gd name="T0" fmla="*/ 104 w 255"/>
              <a:gd name="T1" fmla="*/ 233 h 271"/>
              <a:gd name="T2" fmla="*/ 114 w 255"/>
              <a:gd name="T3" fmla="*/ 271 h 271"/>
              <a:gd name="T4" fmla="*/ 255 w 255"/>
              <a:gd name="T5" fmla="*/ 271 h 271"/>
              <a:gd name="T6" fmla="*/ 255 w 255"/>
              <a:gd name="T7" fmla="*/ 219 h 271"/>
              <a:gd name="T8" fmla="*/ 255 w 255"/>
              <a:gd name="T9" fmla="*/ 167 h 271"/>
              <a:gd name="T10" fmla="*/ 218 w 255"/>
              <a:gd name="T11" fmla="*/ 87 h 271"/>
              <a:gd name="T12" fmla="*/ 140 w 255"/>
              <a:gd name="T13" fmla="*/ 97 h 271"/>
              <a:gd name="T14" fmla="*/ 142 w 255"/>
              <a:gd name="T15" fmla="*/ 52 h 271"/>
              <a:gd name="T16" fmla="*/ 38 w 255"/>
              <a:gd name="T17" fmla="*/ 0 h 271"/>
              <a:gd name="T18" fmla="*/ 0 w 255"/>
              <a:gd name="T19" fmla="*/ 80 h 271"/>
              <a:gd name="T20" fmla="*/ 0 w 255"/>
              <a:gd name="T21" fmla="*/ 132 h 271"/>
              <a:gd name="T22" fmla="*/ 0 w 255"/>
              <a:gd name="T23" fmla="*/ 184 h 271"/>
              <a:gd name="T24" fmla="*/ 0 w 255"/>
              <a:gd name="T25" fmla="*/ 233 h 271"/>
              <a:gd name="T26" fmla="*/ 104 w 255"/>
              <a:gd name="T27" fmla="*/ 7 h 271"/>
              <a:gd name="T28" fmla="*/ 104 w 255"/>
              <a:gd name="T29" fmla="*/ 24 h 271"/>
              <a:gd name="T30" fmla="*/ 38 w 255"/>
              <a:gd name="T31" fmla="*/ 7 h 271"/>
              <a:gd name="T32" fmla="*/ 38 w 255"/>
              <a:gd name="T33" fmla="*/ 35 h 271"/>
              <a:gd name="T34" fmla="*/ 121 w 255"/>
              <a:gd name="T35" fmla="*/ 54 h 271"/>
              <a:gd name="T36" fmla="*/ 38 w 255"/>
              <a:gd name="T37" fmla="*/ 75 h 271"/>
              <a:gd name="T38" fmla="*/ 152 w 255"/>
              <a:gd name="T39" fmla="*/ 94 h 271"/>
              <a:gd name="T40" fmla="*/ 220 w 255"/>
              <a:gd name="T41" fmla="*/ 94 h 271"/>
              <a:gd name="T42" fmla="*/ 152 w 255"/>
              <a:gd name="T43" fmla="*/ 111 h 271"/>
              <a:gd name="T44" fmla="*/ 218 w 255"/>
              <a:gd name="T45" fmla="*/ 264 h 271"/>
              <a:gd name="T46" fmla="*/ 137 w 255"/>
              <a:gd name="T47" fmla="*/ 245 h 271"/>
              <a:gd name="T48" fmla="*/ 218 w 255"/>
              <a:gd name="T49" fmla="*/ 226 h 271"/>
              <a:gd name="T50" fmla="*/ 246 w 255"/>
              <a:gd name="T51" fmla="*/ 264 h 271"/>
              <a:gd name="T52" fmla="*/ 12 w 255"/>
              <a:gd name="T53" fmla="*/ 229 h 271"/>
              <a:gd name="T54" fmla="*/ 38 w 255"/>
              <a:gd name="T55" fmla="*/ 189 h 271"/>
              <a:gd name="T56" fmla="*/ 114 w 255"/>
              <a:gd name="T57" fmla="*/ 198 h 271"/>
              <a:gd name="T58" fmla="*/ 128 w 255"/>
              <a:gd name="T59" fmla="*/ 222 h 271"/>
              <a:gd name="T60" fmla="*/ 38 w 255"/>
              <a:gd name="T61" fmla="*/ 229 h 271"/>
              <a:gd name="T62" fmla="*/ 126 w 255"/>
              <a:gd name="T63" fmla="*/ 215 h 271"/>
              <a:gd name="T64" fmla="*/ 152 w 255"/>
              <a:gd name="T65" fmla="*/ 175 h 271"/>
              <a:gd name="T66" fmla="*/ 234 w 255"/>
              <a:gd name="T67" fmla="*/ 193 h 271"/>
              <a:gd name="T68" fmla="*/ 218 w 255"/>
              <a:gd name="T69" fmla="*/ 163 h 271"/>
              <a:gd name="T70" fmla="*/ 137 w 255"/>
              <a:gd name="T71" fmla="*/ 141 h 271"/>
              <a:gd name="T72" fmla="*/ 218 w 255"/>
              <a:gd name="T73" fmla="*/ 123 h 271"/>
              <a:gd name="T74" fmla="*/ 246 w 255"/>
              <a:gd name="T75" fmla="*/ 163 h 271"/>
              <a:gd name="T76" fmla="*/ 33 w 255"/>
              <a:gd name="T77" fmla="*/ 87 h 271"/>
              <a:gd name="T78" fmla="*/ 109 w 255"/>
              <a:gd name="T79" fmla="*/ 87 h 271"/>
              <a:gd name="T80" fmla="*/ 123 w 255"/>
              <a:gd name="T81" fmla="*/ 125 h 271"/>
              <a:gd name="T82" fmla="*/ 12 w 255"/>
              <a:gd name="T83" fmla="*/ 125 h 271"/>
              <a:gd name="T84" fmla="*/ 33 w 255"/>
              <a:gd name="T85" fmla="*/ 137 h 271"/>
              <a:gd name="T86" fmla="*/ 109 w 255"/>
              <a:gd name="T87" fmla="*/ 137 h 271"/>
              <a:gd name="T88" fmla="*/ 126 w 255"/>
              <a:gd name="T89" fmla="*/ 167 h 271"/>
              <a:gd name="T90" fmla="*/ 104 w 255"/>
              <a:gd name="T91" fmla="*/ 177 h 271"/>
              <a:gd name="T92" fmla="*/ 24 w 255"/>
              <a:gd name="T93" fmla="*/ 15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5" h="271">
                <a:moveTo>
                  <a:pt x="0" y="233"/>
                </a:moveTo>
                <a:lnTo>
                  <a:pt x="38" y="233"/>
                </a:lnTo>
                <a:lnTo>
                  <a:pt x="104" y="233"/>
                </a:lnTo>
                <a:lnTo>
                  <a:pt x="118" y="233"/>
                </a:lnTo>
                <a:lnTo>
                  <a:pt x="114" y="243"/>
                </a:lnTo>
                <a:lnTo>
                  <a:pt x="114" y="271"/>
                </a:lnTo>
                <a:lnTo>
                  <a:pt x="152" y="271"/>
                </a:lnTo>
                <a:lnTo>
                  <a:pt x="218" y="271"/>
                </a:lnTo>
                <a:lnTo>
                  <a:pt x="255" y="271"/>
                </a:lnTo>
                <a:lnTo>
                  <a:pt x="255" y="243"/>
                </a:lnTo>
                <a:lnTo>
                  <a:pt x="241" y="219"/>
                </a:lnTo>
                <a:lnTo>
                  <a:pt x="255" y="219"/>
                </a:lnTo>
                <a:lnTo>
                  <a:pt x="255" y="191"/>
                </a:lnTo>
                <a:lnTo>
                  <a:pt x="241" y="167"/>
                </a:lnTo>
                <a:lnTo>
                  <a:pt x="255" y="167"/>
                </a:lnTo>
                <a:lnTo>
                  <a:pt x="255" y="139"/>
                </a:lnTo>
                <a:lnTo>
                  <a:pt x="225" y="87"/>
                </a:lnTo>
                <a:lnTo>
                  <a:pt x="218" y="87"/>
                </a:lnTo>
                <a:lnTo>
                  <a:pt x="152" y="87"/>
                </a:lnTo>
                <a:lnTo>
                  <a:pt x="144" y="87"/>
                </a:lnTo>
                <a:lnTo>
                  <a:pt x="140" y="97"/>
                </a:lnTo>
                <a:lnTo>
                  <a:pt x="128" y="80"/>
                </a:lnTo>
                <a:lnTo>
                  <a:pt x="142" y="80"/>
                </a:lnTo>
                <a:lnTo>
                  <a:pt x="142" y="52"/>
                </a:lnTo>
                <a:lnTo>
                  <a:pt x="111" y="0"/>
                </a:lnTo>
                <a:lnTo>
                  <a:pt x="104" y="0"/>
                </a:lnTo>
                <a:lnTo>
                  <a:pt x="38" y="0"/>
                </a:lnTo>
                <a:lnTo>
                  <a:pt x="31" y="0"/>
                </a:lnTo>
                <a:lnTo>
                  <a:pt x="0" y="52"/>
                </a:lnTo>
                <a:lnTo>
                  <a:pt x="0" y="80"/>
                </a:lnTo>
                <a:lnTo>
                  <a:pt x="15" y="80"/>
                </a:lnTo>
                <a:lnTo>
                  <a:pt x="0" y="104"/>
                </a:lnTo>
                <a:lnTo>
                  <a:pt x="0" y="132"/>
                </a:lnTo>
                <a:lnTo>
                  <a:pt x="15" y="132"/>
                </a:lnTo>
                <a:lnTo>
                  <a:pt x="0" y="153"/>
                </a:lnTo>
                <a:lnTo>
                  <a:pt x="0" y="184"/>
                </a:lnTo>
                <a:lnTo>
                  <a:pt x="15" y="184"/>
                </a:lnTo>
                <a:lnTo>
                  <a:pt x="0" y="205"/>
                </a:lnTo>
                <a:lnTo>
                  <a:pt x="0" y="233"/>
                </a:lnTo>
                <a:close/>
                <a:moveTo>
                  <a:pt x="38" y="7"/>
                </a:moveTo>
                <a:lnTo>
                  <a:pt x="38" y="7"/>
                </a:lnTo>
                <a:lnTo>
                  <a:pt x="104" y="7"/>
                </a:lnTo>
                <a:lnTo>
                  <a:pt x="107" y="7"/>
                </a:lnTo>
                <a:lnTo>
                  <a:pt x="107" y="24"/>
                </a:lnTo>
                <a:lnTo>
                  <a:pt x="104" y="24"/>
                </a:lnTo>
                <a:lnTo>
                  <a:pt x="38" y="24"/>
                </a:lnTo>
                <a:lnTo>
                  <a:pt x="38" y="24"/>
                </a:lnTo>
                <a:lnTo>
                  <a:pt x="38" y="7"/>
                </a:lnTo>
                <a:close/>
                <a:moveTo>
                  <a:pt x="24" y="54"/>
                </a:moveTo>
                <a:lnTo>
                  <a:pt x="33" y="35"/>
                </a:lnTo>
                <a:lnTo>
                  <a:pt x="38" y="35"/>
                </a:lnTo>
                <a:lnTo>
                  <a:pt x="104" y="35"/>
                </a:lnTo>
                <a:lnTo>
                  <a:pt x="109" y="35"/>
                </a:lnTo>
                <a:lnTo>
                  <a:pt x="121" y="54"/>
                </a:lnTo>
                <a:lnTo>
                  <a:pt x="130" y="75"/>
                </a:lnTo>
                <a:lnTo>
                  <a:pt x="104" y="75"/>
                </a:lnTo>
                <a:lnTo>
                  <a:pt x="38" y="75"/>
                </a:lnTo>
                <a:lnTo>
                  <a:pt x="12" y="75"/>
                </a:lnTo>
                <a:lnTo>
                  <a:pt x="24" y="54"/>
                </a:lnTo>
                <a:close/>
                <a:moveTo>
                  <a:pt x="152" y="94"/>
                </a:moveTo>
                <a:lnTo>
                  <a:pt x="152" y="94"/>
                </a:lnTo>
                <a:lnTo>
                  <a:pt x="218" y="94"/>
                </a:lnTo>
                <a:lnTo>
                  <a:pt x="220" y="94"/>
                </a:lnTo>
                <a:lnTo>
                  <a:pt x="220" y="111"/>
                </a:lnTo>
                <a:lnTo>
                  <a:pt x="218" y="111"/>
                </a:lnTo>
                <a:lnTo>
                  <a:pt x="152" y="111"/>
                </a:lnTo>
                <a:lnTo>
                  <a:pt x="152" y="111"/>
                </a:lnTo>
                <a:lnTo>
                  <a:pt x="152" y="94"/>
                </a:lnTo>
                <a:close/>
                <a:moveTo>
                  <a:pt x="218" y="264"/>
                </a:moveTo>
                <a:lnTo>
                  <a:pt x="152" y="264"/>
                </a:lnTo>
                <a:lnTo>
                  <a:pt x="126" y="264"/>
                </a:lnTo>
                <a:lnTo>
                  <a:pt x="137" y="245"/>
                </a:lnTo>
                <a:lnTo>
                  <a:pt x="147" y="226"/>
                </a:lnTo>
                <a:lnTo>
                  <a:pt x="152" y="226"/>
                </a:lnTo>
                <a:lnTo>
                  <a:pt x="218" y="226"/>
                </a:lnTo>
                <a:lnTo>
                  <a:pt x="222" y="226"/>
                </a:lnTo>
                <a:lnTo>
                  <a:pt x="234" y="245"/>
                </a:lnTo>
                <a:lnTo>
                  <a:pt x="246" y="264"/>
                </a:lnTo>
                <a:lnTo>
                  <a:pt x="218" y="264"/>
                </a:lnTo>
                <a:close/>
                <a:moveTo>
                  <a:pt x="38" y="229"/>
                </a:moveTo>
                <a:lnTo>
                  <a:pt x="12" y="229"/>
                </a:lnTo>
                <a:lnTo>
                  <a:pt x="24" y="208"/>
                </a:lnTo>
                <a:lnTo>
                  <a:pt x="33" y="189"/>
                </a:lnTo>
                <a:lnTo>
                  <a:pt x="38" y="189"/>
                </a:lnTo>
                <a:lnTo>
                  <a:pt x="104" y="189"/>
                </a:lnTo>
                <a:lnTo>
                  <a:pt x="109" y="189"/>
                </a:lnTo>
                <a:lnTo>
                  <a:pt x="114" y="198"/>
                </a:lnTo>
                <a:lnTo>
                  <a:pt x="114" y="219"/>
                </a:lnTo>
                <a:lnTo>
                  <a:pt x="126" y="219"/>
                </a:lnTo>
                <a:lnTo>
                  <a:pt x="128" y="222"/>
                </a:lnTo>
                <a:lnTo>
                  <a:pt x="123" y="229"/>
                </a:lnTo>
                <a:lnTo>
                  <a:pt x="104" y="229"/>
                </a:lnTo>
                <a:lnTo>
                  <a:pt x="38" y="229"/>
                </a:lnTo>
                <a:close/>
                <a:moveTo>
                  <a:pt x="218" y="215"/>
                </a:moveTo>
                <a:lnTo>
                  <a:pt x="152" y="215"/>
                </a:lnTo>
                <a:lnTo>
                  <a:pt x="126" y="215"/>
                </a:lnTo>
                <a:lnTo>
                  <a:pt x="137" y="193"/>
                </a:lnTo>
                <a:lnTo>
                  <a:pt x="147" y="175"/>
                </a:lnTo>
                <a:lnTo>
                  <a:pt x="152" y="175"/>
                </a:lnTo>
                <a:lnTo>
                  <a:pt x="218" y="175"/>
                </a:lnTo>
                <a:lnTo>
                  <a:pt x="222" y="175"/>
                </a:lnTo>
                <a:lnTo>
                  <a:pt x="234" y="193"/>
                </a:lnTo>
                <a:lnTo>
                  <a:pt x="246" y="215"/>
                </a:lnTo>
                <a:lnTo>
                  <a:pt x="218" y="215"/>
                </a:lnTo>
                <a:close/>
                <a:moveTo>
                  <a:pt x="218" y="163"/>
                </a:moveTo>
                <a:lnTo>
                  <a:pt x="152" y="163"/>
                </a:lnTo>
                <a:lnTo>
                  <a:pt x="126" y="163"/>
                </a:lnTo>
                <a:lnTo>
                  <a:pt x="137" y="141"/>
                </a:lnTo>
                <a:lnTo>
                  <a:pt x="147" y="123"/>
                </a:lnTo>
                <a:lnTo>
                  <a:pt x="152" y="123"/>
                </a:lnTo>
                <a:lnTo>
                  <a:pt x="218" y="123"/>
                </a:lnTo>
                <a:lnTo>
                  <a:pt x="222" y="123"/>
                </a:lnTo>
                <a:lnTo>
                  <a:pt x="234" y="141"/>
                </a:lnTo>
                <a:lnTo>
                  <a:pt x="246" y="163"/>
                </a:lnTo>
                <a:lnTo>
                  <a:pt x="218" y="163"/>
                </a:lnTo>
                <a:close/>
                <a:moveTo>
                  <a:pt x="24" y="106"/>
                </a:moveTo>
                <a:lnTo>
                  <a:pt x="33" y="87"/>
                </a:lnTo>
                <a:lnTo>
                  <a:pt x="38" y="87"/>
                </a:lnTo>
                <a:lnTo>
                  <a:pt x="104" y="87"/>
                </a:lnTo>
                <a:lnTo>
                  <a:pt x="109" y="87"/>
                </a:lnTo>
                <a:lnTo>
                  <a:pt x="121" y="106"/>
                </a:lnTo>
                <a:lnTo>
                  <a:pt x="128" y="118"/>
                </a:lnTo>
                <a:lnTo>
                  <a:pt x="123" y="125"/>
                </a:lnTo>
                <a:lnTo>
                  <a:pt x="104" y="125"/>
                </a:lnTo>
                <a:lnTo>
                  <a:pt x="38" y="125"/>
                </a:lnTo>
                <a:lnTo>
                  <a:pt x="12" y="125"/>
                </a:lnTo>
                <a:lnTo>
                  <a:pt x="24" y="106"/>
                </a:lnTo>
                <a:close/>
                <a:moveTo>
                  <a:pt x="24" y="158"/>
                </a:moveTo>
                <a:lnTo>
                  <a:pt x="33" y="137"/>
                </a:lnTo>
                <a:lnTo>
                  <a:pt x="38" y="137"/>
                </a:lnTo>
                <a:lnTo>
                  <a:pt x="104" y="137"/>
                </a:lnTo>
                <a:lnTo>
                  <a:pt x="109" y="137"/>
                </a:lnTo>
                <a:lnTo>
                  <a:pt x="114" y="149"/>
                </a:lnTo>
                <a:lnTo>
                  <a:pt x="114" y="167"/>
                </a:lnTo>
                <a:lnTo>
                  <a:pt x="126" y="167"/>
                </a:lnTo>
                <a:lnTo>
                  <a:pt x="128" y="170"/>
                </a:lnTo>
                <a:lnTo>
                  <a:pt x="123" y="177"/>
                </a:lnTo>
                <a:lnTo>
                  <a:pt x="104" y="177"/>
                </a:lnTo>
                <a:lnTo>
                  <a:pt x="38" y="177"/>
                </a:lnTo>
                <a:lnTo>
                  <a:pt x="12" y="177"/>
                </a:lnTo>
                <a:lnTo>
                  <a:pt x="24" y="158"/>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99" name="淘宝网chenying0907出品 58"/>
          <p:cNvSpPr>
            <a:spLocks noEditPoints="1"/>
          </p:cNvSpPr>
          <p:nvPr/>
        </p:nvSpPr>
        <p:spPr bwMode="auto">
          <a:xfrm>
            <a:off x="4775206" y="2253731"/>
            <a:ext cx="600233" cy="546731"/>
          </a:xfrm>
          <a:custGeom>
            <a:avLst/>
            <a:gdLst>
              <a:gd name="T0" fmla="*/ 75 w 115"/>
              <a:gd name="T1" fmla="*/ 115 h 115"/>
              <a:gd name="T2" fmla="*/ 79 w 115"/>
              <a:gd name="T3" fmla="*/ 103 h 115"/>
              <a:gd name="T4" fmla="*/ 111 w 115"/>
              <a:gd name="T5" fmla="*/ 89 h 115"/>
              <a:gd name="T6" fmla="*/ 115 w 115"/>
              <a:gd name="T7" fmla="*/ 77 h 115"/>
              <a:gd name="T8" fmla="*/ 115 w 115"/>
              <a:gd name="T9" fmla="*/ 39 h 115"/>
              <a:gd name="T10" fmla="*/ 95 w 115"/>
              <a:gd name="T11" fmla="*/ 35 h 115"/>
              <a:gd name="T12" fmla="*/ 95 w 115"/>
              <a:gd name="T13" fmla="*/ 4 h 115"/>
              <a:gd name="T14" fmla="*/ 20 w 115"/>
              <a:gd name="T15" fmla="*/ 0 h 115"/>
              <a:gd name="T16" fmla="*/ 15 w 115"/>
              <a:gd name="T17" fmla="*/ 27 h 115"/>
              <a:gd name="T18" fmla="*/ 15 w 115"/>
              <a:gd name="T19" fmla="*/ 49 h 115"/>
              <a:gd name="T20" fmla="*/ 35 w 115"/>
              <a:gd name="T21" fmla="*/ 54 h 115"/>
              <a:gd name="T22" fmla="*/ 4 w 115"/>
              <a:gd name="T23" fmla="*/ 61 h 115"/>
              <a:gd name="T24" fmla="*/ 0 w 115"/>
              <a:gd name="T25" fmla="*/ 88 h 115"/>
              <a:gd name="T26" fmla="*/ 0 w 115"/>
              <a:gd name="T27" fmla="*/ 110 h 115"/>
              <a:gd name="T28" fmla="*/ 4 w 115"/>
              <a:gd name="T29" fmla="*/ 63 h 115"/>
              <a:gd name="T30" fmla="*/ 77 w 115"/>
              <a:gd name="T31" fmla="*/ 65 h 115"/>
              <a:gd name="T32" fmla="*/ 2 w 115"/>
              <a:gd name="T33" fmla="*/ 88 h 115"/>
              <a:gd name="T34" fmla="*/ 4 w 115"/>
              <a:gd name="T35" fmla="*/ 63 h 115"/>
              <a:gd name="T36" fmla="*/ 18 w 115"/>
              <a:gd name="T37" fmla="*/ 42 h 115"/>
              <a:gd name="T38" fmla="*/ 35 w 115"/>
              <a:gd name="T39" fmla="*/ 51 h 115"/>
              <a:gd name="T40" fmla="*/ 18 w 115"/>
              <a:gd name="T41" fmla="*/ 49 h 115"/>
              <a:gd name="T42" fmla="*/ 91 w 115"/>
              <a:gd name="T43" fmla="*/ 3 h 115"/>
              <a:gd name="T44" fmla="*/ 93 w 115"/>
              <a:gd name="T45" fmla="*/ 27 h 115"/>
              <a:gd name="T46" fmla="*/ 18 w 115"/>
              <a:gd name="T47" fmla="*/ 4 h 115"/>
              <a:gd name="T48" fmla="*/ 38 w 115"/>
              <a:gd name="T49" fmla="*/ 39 h 115"/>
              <a:gd name="T50" fmla="*/ 111 w 115"/>
              <a:gd name="T51" fmla="*/ 38 h 115"/>
              <a:gd name="T52" fmla="*/ 112 w 115"/>
              <a:gd name="T53" fmla="*/ 63 h 115"/>
              <a:gd name="T54" fmla="*/ 75 w 115"/>
              <a:gd name="T55" fmla="*/ 61 h 115"/>
              <a:gd name="T56" fmla="*/ 38 w 115"/>
              <a:gd name="T57" fmla="*/ 39 h 115"/>
              <a:gd name="T58" fmla="*/ 79 w 115"/>
              <a:gd name="T59" fmla="*/ 86 h 115"/>
              <a:gd name="T60" fmla="*/ 112 w 115"/>
              <a:gd name="T61" fmla="*/ 77 h 115"/>
              <a:gd name="T62" fmla="*/ 111 w 115"/>
              <a:gd name="T63" fmla="*/ 86 h 115"/>
              <a:gd name="T64" fmla="*/ 77 w 115"/>
              <a:gd name="T65" fmla="*/ 110 h 115"/>
              <a:gd name="T66" fmla="*/ 4 w 115"/>
              <a:gd name="T67" fmla="*/ 112 h 115"/>
              <a:gd name="T68" fmla="*/ 2 w 115"/>
              <a:gd name="T69" fmla="*/ 10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15">
                <a:moveTo>
                  <a:pt x="4" y="115"/>
                </a:moveTo>
                <a:cubicBezTo>
                  <a:pt x="75" y="115"/>
                  <a:pt x="75" y="115"/>
                  <a:pt x="75" y="115"/>
                </a:cubicBezTo>
                <a:cubicBezTo>
                  <a:pt x="78" y="115"/>
                  <a:pt x="79" y="113"/>
                  <a:pt x="79" y="110"/>
                </a:cubicBezTo>
                <a:cubicBezTo>
                  <a:pt x="79" y="103"/>
                  <a:pt x="79" y="103"/>
                  <a:pt x="79" y="103"/>
                </a:cubicBezTo>
                <a:cubicBezTo>
                  <a:pt x="79" y="89"/>
                  <a:pt x="79" y="89"/>
                  <a:pt x="79" y="89"/>
                </a:cubicBezTo>
                <a:cubicBezTo>
                  <a:pt x="111" y="89"/>
                  <a:pt x="111" y="89"/>
                  <a:pt x="111" y="89"/>
                </a:cubicBezTo>
                <a:cubicBezTo>
                  <a:pt x="113" y="89"/>
                  <a:pt x="115" y="87"/>
                  <a:pt x="115" y="85"/>
                </a:cubicBezTo>
                <a:cubicBezTo>
                  <a:pt x="115" y="77"/>
                  <a:pt x="115" y="77"/>
                  <a:pt x="115" y="77"/>
                </a:cubicBezTo>
                <a:cubicBezTo>
                  <a:pt x="115" y="63"/>
                  <a:pt x="115" y="63"/>
                  <a:pt x="115" y="63"/>
                </a:cubicBezTo>
                <a:cubicBezTo>
                  <a:pt x="115" y="39"/>
                  <a:pt x="115" y="39"/>
                  <a:pt x="115" y="39"/>
                </a:cubicBezTo>
                <a:cubicBezTo>
                  <a:pt x="115" y="37"/>
                  <a:pt x="113" y="35"/>
                  <a:pt x="111" y="35"/>
                </a:cubicBezTo>
                <a:cubicBezTo>
                  <a:pt x="95" y="35"/>
                  <a:pt x="95" y="35"/>
                  <a:pt x="95" y="35"/>
                </a:cubicBezTo>
                <a:cubicBezTo>
                  <a:pt x="95" y="27"/>
                  <a:pt x="95" y="27"/>
                  <a:pt x="95" y="27"/>
                </a:cubicBezTo>
                <a:cubicBezTo>
                  <a:pt x="95" y="4"/>
                  <a:pt x="95" y="4"/>
                  <a:pt x="95" y="4"/>
                </a:cubicBezTo>
                <a:cubicBezTo>
                  <a:pt x="95" y="2"/>
                  <a:pt x="93" y="0"/>
                  <a:pt x="91" y="0"/>
                </a:cubicBezTo>
                <a:cubicBezTo>
                  <a:pt x="20" y="0"/>
                  <a:pt x="20" y="0"/>
                  <a:pt x="20" y="0"/>
                </a:cubicBezTo>
                <a:cubicBezTo>
                  <a:pt x="17" y="0"/>
                  <a:pt x="15" y="2"/>
                  <a:pt x="15" y="4"/>
                </a:cubicBezTo>
                <a:cubicBezTo>
                  <a:pt x="15" y="27"/>
                  <a:pt x="15" y="27"/>
                  <a:pt x="15" y="27"/>
                </a:cubicBezTo>
                <a:cubicBezTo>
                  <a:pt x="15" y="42"/>
                  <a:pt x="15" y="42"/>
                  <a:pt x="15" y="42"/>
                </a:cubicBezTo>
                <a:cubicBezTo>
                  <a:pt x="15" y="49"/>
                  <a:pt x="15" y="49"/>
                  <a:pt x="15" y="49"/>
                </a:cubicBezTo>
                <a:cubicBezTo>
                  <a:pt x="15" y="52"/>
                  <a:pt x="17" y="54"/>
                  <a:pt x="20" y="54"/>
                </a:cubicBezTo>
                <a:cubicBezTo>
                  <a:pt x="35" y="54"/>
                  <a:pt x="35" y="54"/>
                  <a:pt x="35" y="54"/>
                </a:cubicBezTo>
                <a:cubicBezTo>
                  <a:pt x="35" y="61"/>
                  <a:pt x="35" y="61"/>
                  <a:pt x="35" y="61"/>
                </a:cubicBezTo>
                <a:cubicBezTo>
                  <a:pt x="4" y="61"/>
                  <a:pt x="4" y="61"/>
                  <a:pt x="4" y="61"/>
                </a:cubicBezTo>
                <a:cubicBezTo>
                  <a:pt x="2" y="61"/>
                  <a:pt x="0" y="63"/>
                  <a:pt x="0" y="65"/>
                </a:cubicBezTo>
                <a:cubicBezTo>
                  <a:pt x="0" y="88"/>
                  <a:pt x="0" y="88"/>
                  <a:pt x="0" y="88"/>
                </a:cubicBezTo>
                <a:cubicBezTo>
                  <a:pt x="0" y="103"/>
                  <a:pt x="0" y="103"/>
                  <a:pt x="0" y="103"/>
                </a:cubicBezTo>
                <a:cubicBezTo>
                  <a:pt x="0" y="110"/>
                  <a:pt x="0" y="110"/>
                  <a:pt x="0" y="110"/>
                </a:cubicBezTo>
                <a:cubicBezTo>
                  <a:pt x="0" y="113"/>
                  <a:pt x="2" y="115"/>
                  <a:pt x="4" y="115"/>
                </a:cubicBezTo>
                <a:close/>
                <a:moveTo>
                  <a:pt x="4" y="63"/>
                </a:moveTo>
                <a:cubicBezTo>
                  <a:pt x="75" y="63"/>
                  <a:pt x="75" y="63"/>
                  <a:pt x="75" y="63"/>
                </a:cubicBezTo>
                <a:cubicBezTo>
                  <a:pt x="76" y="63"/>
                  <a:pt x="77" y="64"/>
                  <a:pt x="77" y="65"/>
                </a:cubicBezTo>
                <a:cubicBezTo>
                  <a:pt x="77" y="88"/>
                  <a:pt x="77" y="88"/>
                  <a:pt x="77" y="88"/>
                </a:cubicBezTo>
                <a:cubicBezTo>
                  <a:pt x="2" y="88"/>
                  <a:pt x="2" y="88"/>
                  <a:pt x="2" y="88"/>
                </a:cubicBezTo>
                <a:cubicBezTo>
                  <a:pt x="2" y="65"/>
                  <a:pt x="2" y="65"/>
                  <a:pt x="2" y="65"/>
                </a:cubicBezTo>
                <a:cubicBezTo>
                  <a:pt x="2" y="64"/>
                  <a:pt x="3" y="63"/>
                  <a:pt x="4" y="63"/>
                </a:cubicBezTo>
                <a:close/>
                <a:moveTo>
                  <a:pt x="18" y="49"/>
                </a:moveTo>
                <a:cubicBezTo>
                  <a:pt x="18" y="42"/>
                  <a:pt x="18" y="42"/>
                  <a:pt x="18" y="42"/>
                </a:cubicBezTo>
                <a:cubicBezTo>
                  <a:pt x="35" y="42"/>
                  <a:pt x="35" y="42"/>
                  <a:pt x="35" y="42"/>
                </a:cubicBezTo>
                <a:cubicBezTo>
                  <a:pt x="35" y="51"/>
                  <a:pt x="35" y="51"/>
                  <a:pt x="35" y="51"/>
                </a:cubicBezTo>
                <a:cubicBezTo>
                  <a:pt x="20" y="51"/>
                  <a:pt x="20" y="51"/>
                  <a:pt x="20" y="51"/>
                </a:cubicBezTo>
                <a:cubicBezTo>
                  <a:pt x="19" y="51"/>
                  <a:pt x="18" y="50"/>
                  <a:pt x="18" y="49"/>
                </a:cubicBezTo>
                <a:close/>
                <a:moveTo>
                  <a:pt x="20" y="3"/>
                </a:moveTo>
                <a:cubicBezTo>
                  <a:pt x="91" y="3"/>
                  <a:pt x="91" y="3"/>
                  <a:pt x="91" y="3"/>
                </a:cubicBezTo>
                <a:cubicBezTo>
                  <a:pt x="92" y="3"/>
                  <a:pt x="93" y="3"/>
                  <a:pt x="93" y="4"/>
                </a:cubicBezTo>
                <a:cubicBezTo>
                  <a:pt x="93" y="27"/>
                  <a:pt x="93" y="27"/>
                  <a:pt x="93" y="27"/>
                </a:cubicBezTo>
                <a:cubicBezTo>
                  <a:pt x="18" y="27"/>
                  <a:pt x="18" y="27"/>
                  <a:pt x="18" y="27"/>
                </a:cubicBezTo>
                <a:cubicBezTo>
                  <a:pt x="18" y="4"/>
                  <a:pt x="18" y="4"/>
                  <a:pt x="18" y="4"/>
                </a:cubicBezTo>
                <a:cubicBezTo>
                  <a:pt x="18" y="3"/>
                  <a:pt x="19" y="3"/>
                  <a:pt x="20" y="3"/>
                </a:cubicBezTo>
                <a:close/>
                <a:moveTo>
                  <a:pt x="38" y="39"/>
                </a:moveTo>
                <a:cubicBezTo>
                  <a:pt x="38" y="39"/>
                  <a:pt x="38" y="38"/>
                  <a:pt x="39" y="38"/>
                </a:cubicBezTo>
                <a:cubicBezTo>
                  <a:pt x="111" y="38"/>
                  <a:pt x="111" y="38"/>
                  <a:pt x="111" y="38"/>
                </a:cubicBezTo>
                <a:cubicBezTo>
                  <a:pt x="112" y="38"/>
                  <a:pt x="112" y="39"/>
                  <a:pt x="112" y="39"/>
                </a:cubicBezTo>
                <a:cubicBezTo>
                  <a:pt x="112" y="63"/>
                  <a:pt x="112" y="63"/>
                  <a:pt x="112" y="63"/>
                </a:cubicBezTo>
                <a:cubicBezTo>
                  <a:pt x="79" y="63"/>
                  <a:pt x="79" y="63"/>
                  <a:pt x="79" y="63"/>
                </a:cubicBezTo>
                <a:cubicBezTo>
                  <a:pt x="78" y="62"/>
                  <a:pt x="77" y="61"/>
                  <a:pt x="75" y="61"/>
                </a:cubicBezTo>
                <a:cubicBezTo>
                  <a:pt x="38" y="61"/>
                  <a:pt x="38" y="61"/>
                  <a:pt x="38" y="61"/>
                </a:cubicBezTo>
                <a:lnTo>
                  <a:pt x="38" y="39"/>
                </a:lnTo>
                <a:close/>
                <a:moveTo>
                  <a:pt x="111" y="86"/>
                </a:moveTo>
                <a:cubicBezTo>
                  <a:pt x="79" y="86"/>
                  <a:pt x="79" y="86"/>
                  <a:pt x="79" y="86"/>
                </a:cubicBezTo>
                <a:cubicBezTo>
                  <a:pt x="79" y="77"/>
                  <a:pt x="79" y="77"/>
                  <a:pt x="79" y="77"/>
                </a:cubicBezTo>
                <a:cubicBezTo>
                  <a:pt x="112" y="77"/>
                  <a:pt x="112" y="77"/>
                  <a:pt x="112" y="77"/>
                </a:cubicBezTo>
                <a:cubicBezTo>
                  <a:pt x="112" y="85"/>
                  <a:pt x="112" y="85"/>
                  <a:pt x="112" y="85"/>
                </a:cubicBezTo>
                <a:cubicBezTo>
                  <a:pt x="112" y="86"/>
                  <a:pt x="112" y="86"/>
                  <a:pt x="111" y="86"/>
                </a:cubicBezTo>
                <a:close/>
                <a:moveTo>
                  <a:pt x="77" y="103"/>
                </a:moveTo>
                <a:cubicBezTo>
                  <a:pt x="77" y="110"/>
                  <a:pt x="77" y="110"/>
                  <a:pt x="77" y="110"/>
                </a:cubicBezTo>
                <a:cubicBezTo>
                  <a:pt x="77" y="111"/>
                  <a:pt x="76" y="112"/>
                  <a:pt x="75" y="112"/>
                </a:cubicBezTo>
                <a:cubicBezTo>
                  <a:pt x="4" y="112"/>
                  <a:pt x="4" y="112"/>
                  <a:pt x="4" y="112"/>
                </a:cubicBezTo>
                <a:cubicBezTo>
                  <a:pt x="3" y="112"/>
                  <a:pt x="2" y="111"/>
                  <a:pt x="2" y="110"/>
                </a:cubicBezTo>
                <a:cubicBezTo>
                  <a:pt x="2" y="103"/>
                  <a:pt x="2" y="103"/>
                  <a:pt x="2" y="103"/>
                </a:cubicBezTo>
                <a:lnTo>
                  <a:pt x="77" y="103"/>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100" name="淘宝网chenying0907出品 63"/>
          <p:cNvSpPr>
            <a:spLocks noEditPoints="1"/>
          </p:cNvSpPr>
          <p:nvPr/>
        </p:nvSpPr>
        <p:spPr bwMode="auto">
          <a:xfrm>
            <a:off x="3653287" y="1689633"/>
            <a:ext cx="599623" cy="511023"/>
          </a:xfrm>
          <a:custGeom>
            <a:avLst/>
            <a:gdLst>
              <a:gd name="T0" fmla="*/ 26 w 105"/>
              <a:gd name="T1" fmla="*/ 103 h 116"/>
              <a:gd name="T2" fmla="*/ 68 w 105"/>
              <a:gd name="T3" fmla="*/ 110 h 116"/>
              <a:gd name="T4" fmla="*/ 83 w 105"/>
              <a:gd name="T5" fmla="*/ 104 h 116"/>
              <a:gd name="T6" fmla="*/ 105 w 105"/>
              <a:gd name="T7" fmla="*/ 69 h 116"/>
              <a:gd name="T8" fmla="*/ 105 w 105"/>
              <a:gd name="T9" fmla="*/ 35 h 116"/>
              <a:gd name="T10" fmla="*/ 83 w 105"/>
              <a:gd name="T11" fmla="*/ 0 h 116"/>
              <a:gd name="T12" fmla="*/ 60 w 105"/>
              <a:gd name="T13" fmla="*/ 35 h 116"/>
              <a:gd name="T14" fmla="*/ 60 w 105"/>
              <a:gd name="T15" fmla="*/ 59 h 116"/>
              <a:gd name="T16" fmla="*/ 45 w 105"/>
              <a:gd name="T17" fmla="*/ 48 h 116"/>
              <a:gd name="T18" fmla="*/ 0 w 105"/>
              <a:gd name="T19" fmla="*/ 37 h 116"/>
              <a:gd name="T20" fmla="*/ 0 w 105"/>
              <a:gd name="T21" fmla="*/ 71 h 116"/>
              <a:gd name="T22" fmla="*/ 23 w 105"/>
              <a:gd name="T23" fmla="*/ 28 h 116"/>
              <a:gd name="T24" fmla="*/ 39 w 105"/>
              <a:gd name="T25" fmla="*/ 40 h 116"/>
              <a:gd name="T26" fmla="*/ 4 w 105"/>
              <a:gd name="T27" fmla="*/ 37 h 116"/>
              <a:gd name="T28" fmla="*/ 3 w 105"/>
              <a:gd name="T29" fmla="*/ 43 h 116"/>
              <a:gd name="T30" fmla="*/ 42 w 105"/>
              <a:gd name="T31" fmla="*/ 44 h 116"/>
              <a:gd name="T32" fmla="*/ 40 w 105"/>
              <a:gd name="T33" fmla="*/ 53 h 116"/>
              <a:gd name="T34" fmla="*/ 3 w 105"/>
              <a:gd name="T35" fmla="*/ 48 h 116"/>
              <a:gd name="T36" fmla="*/ 101 w 105"/>
              <a:gd name="T37" fmla="*/ 12 h 116"/>
              <a:gd name="T38" fmla="*/ 83 w 105"/>
              <a:gd name="T39" fmla="*/ 21 h 116"/>
              <a:gd name="T40" fmla="*/ 64 w 105"/>
              <a:gd name="T41" fmla="*/ 12 h 116"/>
              <a:gd name="T42" fmla="*/ 63 w 105"/>
              <a:gd name="T43" fmla="*/ 19 h 116"/>
              <a:gd name="T44" fmla="*/ 103 w 105"/>
              <a:gd name="T45" fmla="*/ 19 h 116"/>
              <a:gd name="T46" fmla="*/ 100 w 105"/>
              <a:gd name="T47" fmla="*/ 29 h 116"/>
              <a:gd name="T48" fmla="*/ 65 w 105"/>
              <a:gd name="T49" fmla="*/ 29 h 116"/>
              <a:gd name="T50" fmla="*/ 63 w 105"/>
              <a:gd name="T51" fmla="*/ 41 h 116"/>
              <a:gd name="T52" fmla="*/ 76 w 105"/>
              <a:gd name="T53" fmla="*/ 47 h 116"/>
              <a:gd name="T54" fmla="*/ 102 w 105"/>
              <a:gd name="T55" fmla="*/ 42 h 116"/>
              <a:gd name="T56" fmla="*/ 100 w 105"/>
              <a:gd name="T57" fmla="*/ 51 h 116"/>
              <a:gd name="T58" fmla="*/ 63 w 105"/>
              <a:gd name="T59" fmla="*/ 47 h 116"/>
              <a:gd name="T60" fmla="*/ 71 w 105"/>
              <a:gd name="T61" fmla="*/ 100 h 116"/>
              <a:gd name="T62" fmla="*/ 83 w 105"/>
              <a:gd name="T63" fmla="*/ 93 h 116"/>
              <a:gd name="T64" fmla="*/ 103 w 105"/>
              <a:gd name="T65" fmla="*/ 91 h 116"/>
              <a:gd name="T66" fmla="*/ 49 w 105"/>
              <a:gd name="T67" fmla="*/ 113 h 116"/>
              <a:gd name="T68" fmla="*/ 29 w 105"/>
              <a:gd name="T69" fmla="*/ 98 h 116"/>
              <a:gd name="T70" fmla="*/ 68 w 105"/>
              <a:gd name="T71" fmla="*/ 99 h 116"/>
              <a:gd name="T72" fmla="*/ 66 w 105"/>
              <a:gd name="T73" fmla="*/ 108 h 116"/>
              <a:gd name="T74" fmla="*/ 30 w 105"/>
              <a:gd name="T75" fmla="*/ 76 h 116"/>
              <a:gd name="T76" fmla="*/ 68 w 105"/>
              <a:gd name="T77" fmla="*/ 76 h 116"/>
              <a:gd name="T78" fmla="*/ 66 w 105"/>
              <a:gd name="T79" fmla="*/ 85 h 116"/>
              <a:gd name="T80" fmla="*/ 29 w 105"/>
              <a:gd name="T81" fmla="*/ 81 h 116"/>
              <a:gd name="T82" fmla="*/ 65 w 105"/>
              <a:gd name="T83" fmla="*/ 72 h 116"/>
              <a:gd name="T84" fmla="*/ 31 w 105"/>
              <a:gd name="T85" fmla="*/ 70 h 116"/>
              <a:gd name="T86" fmla="*/ 67 w 105"/>
              <a:gd name="T87" fmla="*/ 69 h 116"/>
              <a:gd name="T88" fmla="*/ 71 w 105"/>
              <a:gd name="T89" fmla="*/ 77 h 116"/>
              <a:gd name="T90" fmla="*/ 83 w 105"/>
              <a:gd name="T91" fmla="*/ 70 h 116"/>
              <a:gd name="T92" fmla="*/ 103 w 105"/>
              <a:gd name="T93" fmla="*/ 69 h 116"/>
              <a:gd name="T94" fmla="*/ 3 w 105"/>
              <a:gd name="T95" fmla="*/ 66 h 116"/>
              <a:gd name="T96" fmla="*/ 26 w 105"/>
              <a:gd name="T97" fmla="*/ 81 h 116"/>
              <a:gd name="T98" fmla="*/ 3 w 105"/>
              <a:gd name="T99" fmla="*/ 7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5" h="116">
                <a:moveTo>
                  <a:pt x="23" y="95"/>
                </a:moveTo>
                <a:cubicBezTo>
                  <a:pt x="24" y="95"/>
                  <a:pt x="25" y="95"/>
                  <a:pt x="26" y="94"/>
                </a:cubicBezTo>
                <a:cubicBezTo>
                  <a:pt x="26" y="103"/>
                  <a:pt x="26" y="103"/>
                  <a:pt x="26" y="103"/>
                </a:cubicBezTo>
                <a:cubicBezTo>
                  <a:pt x="26" y="106"/>
                  <a:pt x="28" y="108"/>
                  <a:pt x="30" y="110"/>
                </a:cubicBezTo>
                <a:cubicBezTo>
                  <a:pt x="34" y="114"/>
                  <a:pt x="41" y="116"/>
                  <a:pt x="49" y="116"/>
                </a:cubicBezTo>
                <a:cubicBezTo>
                  <a:pt x="57" y="116"/>
                  <a:pt x="64" y="114"/>
                  <a:pt x="68" y="110"/>
                </a:cubicBezTo>
                <a:cubicBezTo>
                  <a:pt x="70" y="108"/>
                  <a:pt x="71" y="106"/>
                  <a:pt x="71" y="103"/>
                </a:cubicBezTo>
                <a:cubicBezTo>
                  <a:pt x="71" y="102"/>
                  <a:pt x="71" y="102"/>
                  <a:pt x="71" y="102"/>
                </a:cubicBezTo>
                <a:cubicBezTo>
                  <a:pt x="75" y="103"/>
                  <a:pt x="79" y="104"/>
                  <a:pt x="83" y="104"/>
                </a:cubicBezTo>
                <a:cubicBezTo>
                  <a:pt x="95" y="104"/>
                  <a:pt x="105" y="98"/>
                  <a:pt x="105" y="91"/>
                </a:cubicBezTo>
                <a:cubicBezTo>
                  <a:pt x="105" y="80"/>
                  <a:pt x="105" y="80"/>
                  <a:pt x="105" y="80"/>
                </a:cubicBezTo>
                <a:cubicBezTo>
                  <a:pt x="105" y="69"/>
                  <a:pt x="105" y="69"/>
                  <a:pt x="105" y="69"/>
                </a:cubicBezTo>
                <a:cubicBezTo>
                  <a:pt x="105" y="58"/>
                  <a:pt x="105" y="58"/>
                  <a:pt x="105" y="58"/>
                </a:cubicBezTo>
                <a:cubicBezTo>
                  <a:pt x="105" y="47"/>
                  <a:pt x="105" y="47"/>
                  <a:pt x="105" y="47"/>
                </a:cubicBezTo>
                <a:cubicBezTo>
                  <a:pt x="105" y="35"/>
                  <a:pt x="105" y="35"/>
                  <a:pt x="105" y="35"/>
                </a:cubicBezTo>
                <a:cubicBezTo>
                  <a:pt x="105" y="24"/>
                  <a:pt x="105" y="24"/>
                  <a:pt x="105" y="24"/>
                </a:cubicBezTo>
                <a:cubicBezTo>
                  <a:pt x="105" y="13"/>
                  <a:pt x="105" y="13"/>
                  <a:pt x="105" y="13"/>
                </a:cubicBezTo>
                <a:cubicBezTo>
                  <a:pt x="105" y="6"/>
                  <a:pt x="95" y="0"/>
                  <a:pt x="83" y="0"/>
                </a:cubicBezTo>
                <a:cubicBezTo>
                  <a:pt x="70" y="0"/>
                  <a:pt x="60" y="6"/>
                  <a:pt x="60" y="13"/>
                </a:cubicBezTo>
                <a:cubicBezTo>
                  <a:pt x="60" y="24"/>
                  <a:pt x="60" y="24"/>
                  <a:pt x="60" y="24"/>
                </a:cubicBezTo>
                <a:cubicBezTo>
                  <a:pt x="60" y="35"/>
                  <a:pt x="60" y="35"/>
                  <a:pt x="60" y="35"/>
                </a:cubicBezTo>
                <a:cubicBezTo>
                  <a:pt x="60" y="47"/>
                  <a:pt x="60" y="47"/>
                  <a:pt x="60" y="47"/>
                </a:cubicBezTo>
                <a:cubicBezTo>
                  <a:pt x="60" y="58"/>
                  <a:pt x="60" y="58"/>
                  <a:pt x="60" y="58"/>
                </a:cubicBezTo>
                <a:cubicBezTo>
                  <a:pt x="60" y="59"/>
                  <a:pt x="60" y="59"/>
                  <a:pt x="60" y="59"/>
                </a:cubicBezTo>
                <a:cubicBezTo>
                  <a:pt x="57" y="58"/>
                  <a:pt x="53" y="57"/>
                  <a:pt x="49" y="57"/>
                </a:cubicBezTo>
                <a:cubicBezTo>
                  <a:pt x="48" y="57"/>
                  <a:pt x="46" y="57"/>
                  <a:pt x="45" y="57"/>
                </a:cubicBezTo>
                <a:cubicBezTo>
                  <a:pt x="45" y="48"/>
                  <a:pt x="45" y="48"/>
                  <a:pt x="45" y="48"/>
                </a:cubicBezTo>
                <a:cubicBezTo>
                  <a:pt x="45" y="37"/>
                  <a:pt x="45" y="37"/>
                  <a:pt x="45" y="37"/>
                </a:cubicBezTo>
                <a:cubicBezTo>
                  <a:pt x="45" y="30"/>
                  <a:pt x="35" y="25"/>
                  <a:pt x="23" y="25"/>
                </a:cubicBezTo>
                <a:cubicBezTo>
                  <a:pt x="10" y="25"/>
                  <a:pt x="0" y="30"/>
                  <a:pt x="0" y="37"/>
                </a:cubicBezTo>
                <a:cubicBezTo>
                  <a:pt x="0" y="48"/>
                  <a:pt x="0" y="48"/>
                  <a:pt x="0" y="48"/>
                </a:cubicBezTo>
                <a:cubicBezTo>
                  <a:pt x="0" y="60"/>
                  <a:pt x="0" y="60"/>
                  <a:pt x="0" y="60"/>
                </a:cubicBezTo>
                <a:cubicBezTo>
                  <a:pt x="0" y="71"/>
                  <a:pt x="0" y="71"/>
                  <a:pt x="0" y="71"/>
                </a:cubicBezTo>
                <a:cubicBezTo>
                  <a:pt x="0" y="82"/>
                  <a:pt x="0" y="82"/>
                  <a:pt x="0" y="82"/>
                </a:cubicBezTo>
                <a:cubicBezTo>
                  <a:pt x="0" y="89"/>
                  <a:pt x="10" y="95"/>
                  <a:pt x="23" y="95"/>
                </a:cubicBezTo>
                <a:close/>
                <a:moveTo>
                  <a:pt x="23" y="28"/>
                </a:moveTo>
                <a:cubicBezTo>
                  <a:pt x="33" y="28"/>
                  <a:pt x="41" y="33"/>
                  <a:pt x="41" y="37"/>
                </a:cubicBezTo>
                <a:cubicBezTo>
                  <a:pt x="41" y="37"/>
                  <a:pt x="41" y="37"/>
                  <a:pt x="41" y="37"/>
                </a:cubicBezTo>
                <a:cubicBezTo>
                  <a:pt x="41" y="39"/>
                  <a:pt x="40" y="39"/>
                  <a:pt x="39" y="40"/>
                </a:cubicBezTo>
                <a:cubicBezTo>
                  <a:pt x="36" y="43"/>
                  <a:pt x="30" y="45"/>
                  <a:pt x="23" y="45"/>
                </a:cubicBezTo>
                <a:cubicBezTo>
                  <a:pt x="16" y="45"/>
                  <a:pt x="10" y="43"/>
                  <a:pt x="6" y="40"/>
                </a:cubicBezTo>
                <a:cubicBezTo>
                  <a:pt x="6" y="39"/>
                  <a:pt x="5" y="39"/>
                  <a:pt x="4" y="37"/>
                </a:cubicBezTo>
                <a:cubicBezTo>
                  <a:pt x="4" y="37"/>
                  <a:pt x="4" y="37"/>
                  <a:pt x="4" y="37"/>
                </a:cubicBezTo>
                <a:cubicBezTo>
                  <a:pt x="4" y="33"/>
                  <a:pt x="12" y="28"/>
                  <a:pt x="23" y="28"/>
                </a:cubicBezTo>
                <a:close/>
                <a:moveTo>
                  <a:pt x="3" y="43"/>
                </a:moveTo>
                <a:cubicBezTo>
                  <a:pt x="3" y="43"/>
                  <a:pt x="3" y="44"/>
                  <a:pt x="3" y="44"/>
                </a:cubicBezTo>
                <a:cubicBezTo>
                  <a:pt x="7" y="48"/>
                  <a:pt x="15" y="50"/>
                  <a:pt x="23" y="50"/>
                </a:cubicBezTo>
                <a:cubicBezTo>
                  <a:pt x="31" y="50"/>
                  <a:pt x="38" y="48"/>
                  <a:pt x="42" y="44"/>
                </a:cubicBezTo>
                <a:cubicBezTo>
                  <a:pt x="42" y="44"/>
                  <a:pt x="42" y="43"/>
                  <a:pt x="43" y="43"/>
                </a:cubicBezTo>
                <a:cubicBezTo>
                  <a:pt x="43" y="48"/>
                  <a:pt x="43" y="48"/>
                  <a:pt x="43" y="48"/>
                </a:cubicBezTo>
                <a:cubicBezTo>
                  <a:pt x="43" y="50"/>
                  <a:pt x="41" y="52"/>
                  <a:pt x="40" y="53"/>
                </a:cubicBezTo>
                <a:cubicBezTo>
                  <a:pt x="37" y="56"/>
                  <a:pt x="30" y="58"/>
                  <a:pt x="23" y="58"/>
                </a:cubicBezTo>
                <a:cubicBezTo>
                  <a:pt x="15" y="58"/>
                  <a:pt x="9" y="56"/>
                  <a:pt x="5" y="53"/>
                </a:cubicBezTo>
                <a:cubicBezTo>
                  <a:pt x="4" y="52"/>
                  <a:pt x="3" y="50"/>
                  <a:pt x="3" y="48"/>
                </a:cubicBezTo>
                <a:lnTo>
                  <a:pt x="3" y="43"/>
                </a:lnTo>
                <a:close/>
                <a:moveTo>
                  <a:pt x="83" y="4"/>
                </a:moveTo>
                <a:cubicBezTo>
                  <a:pt x="93" y="4"/>
                  <a:pt x="101" y="8"/>
                  <a:pt x="101" y="12"/>
                </a:cubicBezTo>
                <a:cubicBezTo>
                  <a:pt x="101" y="13"/>
                  <a:pt x="101" y="13"/>
                  <a:pt x="101" y="13"/>
                </a:cubicBezTo>
                <a:cubicBezTo>
                  <a:pt x="101" y="14"/>
                  <a:pt x="100" y="15"/>
                  <a:pt x="99" y="16"/>
                </a:cubicBezTo>
                <a:cubicBezTo>
                  <a:pt x="96" y="19"/>
                  <a:pt x="90" y="21"/>
                  <a:pt x="83" y="21"/>
                </a:cubicBezTo>
                <a:cubicBezTo>
                  <a:pt x="76" y="21"/>
                  <a:pt x="70" y="19"/>
                  <a:pt x="66" y="16"/>
                </a:cubicBezTo>
                <a:cubicBezTo>
                  <a:pt x="66" y="15"/>
                  <a:pt x="65" y="14"/>
                  <a:pt x="65" y="13"/>
                </a:cubicBezTo>
                <a:cubicBezTo>
                  <a:pt x="64" y="13"/>
                  <a:pt x="64" y="13"/>
                  <a:pt x="64" y="12"/>
                </a:cubicBezTo>
                <a:cubicBezTo>
                  <a:pt x="64" y="8"/>
                  <a:pt x="72" y="4"/>
                  <a:pt x="83" y="4"/>
                </a:cubicBezTo>
                <a:close/>
                <a:moveTo>
                  <a:pt x="63" y="19"/>
                </a:moveTo>
                <a:cubicBezTo>
                  <a:pt x="63" y="19"/>
                  <a:pt x="63" y="19"/>
                  <a:pt x="63" y="19"/>
                </a:cubicBezTo>
                <a:cubicBezTo>
                  <a:pt x="68" y="23"/>
                  <a:pt x="75" y="25"/>
                  <a:pt x="83" y="25"/>
                </a:cubicBezTo>
                <a:cubicBezTo>
                  <a:pt x="91" y="25"/>
                  <a:pt x="98" y="23"/>
                  <a:pt x="102" y="19"/>
                </a:cubicBezTo>
                <a:cubicBezTo>
                  <a:pt x="102" y="19"/>
                  <a:pt x="102" y="19"/>
                  <a:pt x="103" y="19"/>
                </a:cubicBezTo>
                <a:cubicBezTo>
                  <a:pt x="103" y="24"/>
                  <a:pt x="103" y="24"/>
                  <a:pt x="103" y="24"/>
                </a:cubicBezTo>
                <a:cubicBezTo>
                  <a:pt x="103" y="25"/>
                  <a:pt x="103" y="25"/>
                  <a:pt x="102" y="26"/>
                </a:cubicBezTo>
                <a:cubicBezTo>
                  <a:pt x="102" y="27"/>
                  <a:pt x="101" y="28"/>
                  <a:pt x="100" y="29"/>
                </a:cubicBezTo>
                <a:cubicBezTo>
                  <a:pt x="98" y="31"/>
                  <a:pt x="93" y="33"/>
                  <a:pt x="88" y="34"/>
                </a:cubicBezTo>
                <a:cubicBezTo>
                  <a:pt x="86" y="34"/>
                  <a:pt x="85" y="34"/>
                  <a:pt x="83" y="34"/>
                </a:cubicBezTo>
                <a:cubicBezTo>
                  <a:pt x="75" y="34"/>
                  <a:pt x="69" y="32"/>
                  <a:pt x="65" y="29"/>
                </a:cubicBezTo>
                <a:cubicBezTo>
                  <a:pt x="64" y="28"/>
                  <a:pt x="63" y="26"/>
                  <a:pt x="63" y="24"/>
                </a:cubicBezTo>
                <a:lnTo>
                  <a:pt x="63" y="19"/>
                </a:lnTo>
                <a:close/>
                <a:moveTo>
                  <a:pt x="63" y="41"/>
                </a:moveTo>
                <a:cubicBezTo>
                  <a:pt x="63" y="41"/>
                  <a:pt x="63" y="42"/>
                  <a:pt x="63" y="42"/>
                </a:cubicBezTo>
                <a:cubicBezTo>
                  <a:pt x="66" y="44"/>
                  <a:pt x="69" y="46"/>
                  <a:pt x="73" y="47"/>
                </a:cubicBezTo>
                <a:cubicBezTo>
                  <a:pt x="74" y="47"/>
                  <a:pt x="75" y="47"/>
                  <a:pt x="76" y="47"/>
                </a:cubicBezTo>
                <a:cubicBezTo>
                  <a:pt x="76" y="47"/>
                  <a:pt x="77" y="48"/>
                  <a:pt x="78" y="48"/>
                </a:cubicBezTo>
                <a:cubicBezTo>
                  <a:pt x="80" y="48"/>
                  <a:pt x="81" y="48"/>
                  <a:pt x="83" y="48"/>
                </a:cubicBezTo>
                <a:cubicBezTo>
                  <a:pt x="91" y="48"/>
                  <a:pt x="98" y="46"/>
                  <a:pt x="102" y="42"/>
                </a:cubicBezTo>
                <a:cubicBezTo>
                  <a:pt x="102" y="42"/>
                  <a:pt x="102" y="41"/>
                  <a:pt x="103" y="41"/>
                </a:cubicBezTo>
                <a:cubicBezTo>
                  <a:pt x="103" y="47"/>
                  <a:pt x="103" y="47"/>
                  <a:pt x="103" y="47"/>
                </a:cubicBezTo>
                <a:cubicBezTo>
                  <a:pt x="103" y="49"/>
                  <a:pt x="101" y="50"/>
                  <a:pt x="100" y="51"/>
                </a:cubicBezTo>
                <a:cubicBezTo>
                  <a:pt x="97" y="54"/>
                  <a:pt x="90" y="57"/>
                  <a:pt x="83" y="57"/>
                </a:cubicBezTo>
                <a:cubicBezTo>
                  <a:pt x="75" y="57"/>
                  <a:pt x="69" y="54"/>
                  <a:pt x="65" y="51"/>
                </a:cubicBezTo>
                <a:cubicBezTo>
                  <a:pt x="64" y="50"/>
                  <a:pt x="63" y="49"/>
                  <a:pt x="63" y="47"/>
                </a:cubicBezTo>
                <a:lnTo>
                  <a:pt x="63" y="41"/>
                </a:lnTo>
                <a:close/>
                <a:moveTo>
                  <a:pt x="83" y="101"/>
                </a:moveTo>
                <a:cubicBezTo>
                  <a:pt x="79" y="101"/>
                  <a:pt x="75" y="101"/>
                  <a:pt x="71" y="100"/>
                </a:cubicBezTo>
                <a:cubicBezTo>
                  <a:pt x="71" y="92"/>
                  <a:pt x="71" y="92"/>
                  <a:pt x="71" y="92"/>
                </a:cubicBezTo>
                <a:cubicBezTo>
                  <a:pt x="71" y="91"/>
                  <a:pt x="71" y="91"/>
                  <a:pt x="71" y="91"/>
                </a:cubicBezTo>
                <a:cubicBezTo>
                  <a:pt x="75" y="92"/>
                  <a:pt x="79" y="93"/>
                  <a:pt x="83" y="93"/>
                </a:cubicBezTo>
                <a:cubicBezTo>
                  <a:pt x="91" y="93"/>
                  <a:pt x="98" y="91"/>
                  <a:pt x="102" y="87"/>
                </a:cubicBezTo>
                <a:cubicBezTo>
                  <a:pt x="102" y="87"/>
                  <a:pt x="102" y="86"/>
                  <a:pt x="103" y="86"/>
                </a:cubicBezTo>
                <a:cubicBezTo>
                  <a:pt x="103" y="91"/>
                  <a:pt x="103" y="91"/>
                  <a:pt x="103" y="91"/>
                </a:cubicBezTo>
                <a:cubicBezTo>
                  <a:pt x="103" y="97"/>
                  <a:pt x="94" y="101"/>
                  <a:pt x="83" y="101"/>
                </a:cubicBezTo>
                <a:close/>
                <a:moveTo>
                  <a:pt x="66" y="108"/>
                </a:moveTo>
                <a:cubicBezTo>
                  <a:pt x="63" y="111"/>
                  <a:pt x="56" y="113"/>
                  <a:pt x="49" y="113"/>
                </a:cubicBezTo>
                <a:cubicBezTo>
                  <a:pt x="42" y="113"/>
                  <a:pt x="35" y="111"/>
                  <a:pt x="31" y="108"/>
                </a:cubicBezTo>
                <a:cubicBezTo>
                  <a:pt x="30" y="107"/>
                  <a:pt x="29" y="105"/>
                  <a:pt x="29" y="103"/>
                </a:cubicBezTo>
                <a:cubicBezTo>
                  <a:pt x="29" y="98"/>
                  <a:pt x="29" y="98"/>
                  <a:pt x="29" y="98"/>
                </a:cubicBezTo>
                <a:cubicBezTo>
                  <a:pt x="29" y="98"/>
                  <a:pt x="29" y="98"/>
                  <a:pt x="30" y="99"/>
                </a:cubicBezTo>
                <a:cubicBezTo>
                  <a:pt x="34" y="102"/>
                  <a:pt x="41" y="105"/>
                  <a:pt x="49" y="105"/>
                </a:cubicBezTo>
                <a:cubicBezTo>
                  <a:pt x="57" y="105"/>
                  <a:pt x="64" y="102"/>
                  <a:pt x="68" y="99"/>
                </a:cubicBezTo>
                <a:cubicBezTo>
                  <a:pt x="68" y="98"/>
                  <a:pt x="69" y="98"/>
                  <a:pt x="69" y="98"/>
                </a:cubicBezTo>
                <a:cubicBezTo>
                  <a:pt x="69" y="103"/>
                  <a:pt x="69" y="103"/>
                  <a:pt x="69" y="103"/>
                </a:cubicBezTo>
                <a:cubicBezTo>
                  <a:pt x="69" y="105"/>
                  <a:pt x="68" y="107"/>
                  <a:pt x="66" y="108"/>
                </a:cubicBezTo>
                <a:close/>
                <a:moveTo>
                  <a:pt x="29" y="81"/>
                </a:moveTo>
                <a:cubicBezTo>
                  <a:pt x="29" y="75"/>
                  <a:pt x="29" y="75"/>
                  <a:pt x="29" y="75"/>
                </a:cubicBezTo>
                <a:cubicBezTo>
                  <a:pt x="29" y="76"/>
                  <a:pt x="29" y="76"/>
                  <a:pt x="30" y="76"/>
                </a:cubicBezTo>
                <a:cubicBezTo>
                  <a:pt x="32" y="78"/>
                  <a:pt x="36" y="80"/>
                  <a:pt x="40" y="81"/>
                </a:cubicBezTo>
                <a:cubicBezTo>
                  <a:pt x="43" y="82"/>
                  <a:pt x="46" y="82"/>
                  <a:pt x="49" y="82"/>
                </a:cubicBezTo>
                <a:cubicBezTo>
                  <a:pt x="57" y="82"/>
                  <a:pt x="64" y="80"/>
                  <a:pt x="68" y="76"/>
                </a:cubicBezTo>
                <a:cubicBezTo>
                  <a:pt x="68" y="76"/>
                  <a:pt x="69" y="76"/>
                  <a:pt x="69" y="75"/>
                </a:cubicBezTo>
                <a:cubicBezTo>
                  <a:pt x="69" y="81"/>
                  <a:pt x="69" y="81"/>
                  <a:pt x="69" y="81"/>
                </a:cubicBezTo>
                <a:cubicBezTo>
                  <a:pt x="69" y="83"/>
                  <a:pt x="68" y="84"/>
                  <a:pt x="66" y="85"/>
                </a:cubicBezTo>
                <a:cubicBezTo>
                  <a:pt x="63" y="89"/>
                  <a:pt x="56" y="91"/>
                  <a:pt x="49" y="91"/>
                </a:cubicBezTo>
                <a:cubicBezTo>
                  <a:pt x="42" y="91"/>
                  <a:pt x="35" y="89"/>
                  <a:pt x="31" y="85"/>
                </a:cubicBezTo>
                <a:cubicBezTo>
                  <a:pt x="30" y="84"/>
                  <a:pt x="29" y="83"/>
                  <a:pt x="29" y="81"/>
                </a:cubicBezTo>
                <a:close/>
                <a:moveTo>
                  <a:pt x="67" y="69"/>
                </a:moveTo>
                <a:cubicBezTo>
                  <a:pt x="67" y="69"/>
                  <a:pt x="67" y="70"/>
                  <a:pt x="67" y="70"/>
                </a:cubicBezTo>
                <a:cubicBezTo>
                  <a:pt x="67" y="71"/>
                  <a:pt x="66" y="72"/>
                  <a:pt x="65" y="72"/>
                </a:cubicBezTo>
                <a:cubicBezTo>
                  <a:pt x="62" y="75"/>
                  <a:pt x="56" y="77"/>
                  <a:pt x="49" y="77"/>
                </a:cubicBezTo>
                <a:cubicBezTo>
                  <a:pt x="42" y="77"/>
                  <a:pt x="36" y="75"/>
                  <a:pt x="33" y="72"/>
                </a:cubicBezTo>
                <a:cubicBezTo>
                  <a:pt x="32" y="72"/>
                  <a:pt x="31" y="71"/>
                  <a:pt x="31" y="70"/>
                </a:cubicBezTo>
                <a:cubicBezTo>
                  <a:pt x="31" y="70"/>
                  <a:pt x="31" y="69"/>
                  <a:pt x="31" y="69"/>
                </a:cubicBezTo>
                <a:cubicBezTo>
                  <a:pt x="31" y="65"/>
                  <a:pt x="38" y="61"/>
                  <a:pt x="49" y="61"/>
                </a:cubicBezTo>
                <a:cubicBezTo>
                  <a:pt x="59" y="61"/>
                  <a:pt x="67" y="65"/>
                  <a:pt x="67" y="69"/>
                </a:cubicBezTo>
                <a:close/>
                <a:moveTo>
                  <a:pt x="100" y="74"/>
                </a:moveTo>
                <a:cubicBezTo>
                  <a:pt x="97" y="77"/>
                  <a:pt x="90" y="79"/>
                  <a:pt x="83" y="79"/>
                </a:cubicBezTo>
                <a:cubicBezTo>
                  <a:pt x="79" y="79"/>
                  <a:pt x="75" y="78"/>
                  <a:pt x="71" y="77"/>
                </a:cubicBezTo>
                <a:cubicBezTo>
                  <a:pt x="71" y="70"/>
                  <a:pt x="71" y="70"/>
                  <a:pt x="71" y="70"/>
                </a:cubicBezTo>
                <a:cubicBezTo>
                  <a:pt x="71" y="69"/>
                  <a:pt x="71" y="69"/>
                  <a:pt x="71" y="69"/>
                </a:cubicBezTo>
                <a:cubicBezTo>
                  <a:pt x="75" y="70"/>
                  <a:pt x="79" y="70"/>
                  <a:pt x="83" y="70"/>
                </a:cubicBezTo>
                <a:cubicBezTo>
                  <a:pt x="91" y="70"/>
                  <a:pt x="98" y="68"/>
                  <a:pt x="102" y="64"/>
                </a:cubicBezTo>
                <a:cubicBezTo>
                  <a:pt x="102" y="64"/>
                  <a:pt x="102" y="64"/>
                  <a:pt x="103" y="64"/>
                </a:cubicBezTo>
                <a:cubicBezTo>
                  <a:pt x="103" y="69"/>
                  <a:pt x="103" y="69"/>
                  <a:pt x="103" y="69"/>
                </a:cubicBezTo>
                <a:cubicBezTo>
                  <a:pt x="103" y="71"/>
                  <a:pt x="101" y="73"/>
                  <a:pt x="100" y="74"/>
                </a:cubicBezTo>
                <a:close/>
                <a:moveTo>
                  <a:pt x="3" y="66"/>
                </a:moveTo>
                <a:cubicBezTo>
                  <a:pt x="3" y="66"/>
                  <a:pt x="3" y="66"/>
                  <a:pt x="3" y="66"/>
                </a:cubicBezTo>
                <a:cubicBezTo>
                  <a:pt x="7" y="70"/>
                  <a:pt x="15" y="72"/>
                  <a:pt x="23" y="72"/>
                </a:cubicBezTo>
                <a:cubicBezTo>
                  <a:pt x="24" y="72"/>
                  <a:pt x="25" y="72"/>
                  <a:pt x="26" y="72"/>
                </a:cubicBezTo>
                <a:cubicBezTo>
                  <a:pt x="26" y="81"/>
                  <a:pt x="26" y="81"/>
                  <a:pt x="26" y="81"/>
                </a:cubicBezTo>
                <a:cubicBezTo>
                  <a:pt x="25" y="81"/>
                  <a:pt x="24" y="81"/>
                  <a:pt x="23" y="81"/>
                </a:cubicBezTo>
                <a:cubicBezTo>
                  <a:pt x="15" y="81"/>
                  <a:pt x="9" y="79"/>
                  <a:pt x="5" y="76"/>
                </a:cubicBezTo>
                <a:cubicBezTo>
                  <a:pt x="4" y="75"/>
                  <a:pt x="3" y="73"/>
                  <a:pt x="3" y="71"/>
                </a:cubicBezTo>
                <a:lnTo>
                  <a:pt x="3" y="66"/>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grpSp>
        <p:nvGrpSpPr>
          <p:cNvPr id="101" name="淘宝网chenying0907出品 54"/>
          <p:cNvGrpSpPr/>
          <p:nvPr/>
        </p:nvGrpSpPr>
        <p:grpSpPr>
          <a:xfrm>
            <a:off x="2598017" y="1384712"/>
            <a:ext cx="543972" cy="429723"/>
            <a:chOff x="2689226" y="2416175"/>
            <a:chExt cx="430213" cy="330200"/>
          </a:xfrm>
          <a:solidFill>
            <a:srgbClr val="2C53B6"/>
          </a:solidFill>
        </p:grpSpPr>
        <p:sp>
          <p:nvSpPr>
            <p:cNvPr id="102" name="淘宝网chenying0907出品 68"/>
            <p:cNvSpPr>
              <a:spLocks noEditPoints="1"/>
            </p:cNvSpPr>
            <p:nvPr/>
          </p:nvSpPr>
          <p:spPr bwMode="auto">
            <a:xfrm>
              <a:off x="2689226" y="2416175"/>
              <a:ext cx="430213" cy="330200"/>
            </a:xfrm>
            <a:custGeom>
              <a:avLst/>
              <a:gdLst>
                <a:gd name="T0" fmla="*/ 271 w 271"/>
                <a:gd name="T1" fmla="*/ 194 h 208"/>
                <a:gd name="T2" fmla="*/ 271 w 271"/>
                <a:gd name="T3" fmla="*/ 187 h 208"/>
                <a:gd name="T4" fmla="*/ 271 w 271"/>
                <a:gd name="T5" fmla="*/ 180 h 208"/>
                <a:gd name="T6" fmla="*/ 271 w 271"/>
                <a:gd name="T7" fmla="*/ 173 h 208"/>
                <a:gd name="T8" fmla="*/ 271 w 271"/>
                <a:gd name="T9" fmla="*/ 164 h 208"/>
                <a:gd name="T10" fmla="*/ 271 w 271"/>
                <a:gd name="T11" fmla="*/ 159 h 208"/>
                <a:gd name="T12" fmla="*/ 271 w 271"/>
                <a:gd name="T13" fmla="*/ 149 h 208"/>
                <a:gd name="T14" fmla="*/ 271 w 271"/>
                <a:gd name="T15" fmla="*/ 145 h 208"/>
                <a:gd name="T16" fmla="*/ 271 w 271"/>
                <a:gd name="T17" fmla="*/ 135 h 208"/>
                <a:gd name="T18" fmla="*/ 271 w 271"/>
                <a:gd name="T19" fmla="*/ 128 h 208"/>
                <a:gd name="T20" fmla="*/ 271 w 271"/>
                <a:gd name="T21" fmla="*/ 0 h 208"/>
                <a:gd name="T22" fmla="*/ 0 w 271"/>
                <a:gd name="T23" fmla="*/ 0 h 208"/>
                <a:gd name="T24" fmla="*/ 0 w 271"/>
                <a:gd name="T25" fmla="*/ 128 h 208"/>
                <a:gd name="T26" fmla="*/ 0 w 271"/>
                <a:gd name="T27" fmla="*/ 135 h 208"/>
                <a:gd name="T28" fmla="*/ 0 w 271"/>
                <a:gd name="T29" fmla="*/ 145 h 208"/>
                <a:gd name="T30" fmla="*/ 0 w 271"/>
                <a:gd name="T31" fmla="*/ 149 h 208"/>
                <a:gd name="T32" fmla="*/ 0 w 271"/>
                <a:gd name="T33" fmla="*/ 159 h 208"/>
                <a:gd name="T34" fmla="*/ 0 w 271"/>
                <a:gd name="T35" fmla="*/ 164 h 208"/>
                <a:gd name="T36" fmla="*/ 0 w 271"/>
                <a:gd name="T37" fmla="*/ 173 h 208"/>
                <a:gd name="T38" fmla="*/ 0 w 271"/>
                <a:gd name="T39" fmla="*/ 180 h 208"/>
                <a:gd name="T40" fmla="*/ 0 w 271"/>
                <a:gd name="T41" fmla="*/ 187 h 208"/>
                <a:gd name="T42" fmla="*/ 0 w 271"/>
                <a:gd name="T43" fmla="*/ 194 h 208"/>
                <a:gd name="T44" fmla="*/ 0 w 271"/>
                <a:gd name="T45" fmla="*/ 208 h 208"/>
                <a:gd name="T46" fmla="*/ 271 w 271"/>
                <a:gd name="T47" fmla="*/ 208 h 208"/>
                <a:gd name="T48" fmla="*/ 271 w 271"/>
                <a:gd name="T49" fmla="*/ 194 h 208"/>
                <a:gd name="T50" fmla="*/ 7 w 271"/>
                <a:gd name="T51" fmla="*/ 5 h 208"/>
                <a:gd name="T52" fmla="*/ 266 w 271"/>
                <a:gd name="T53" fmla="*/ 5 h 208"/>
                <a:gd name="T54" fmla="*/ 266 w 271"/>
                <a:gd name="T55" fmla="*/ 128 h 208"/>
                <a:gd name="T56" fmla="*/ 7 w 271"/>
                <a:gd name="T57" fmla="*/ 128 h 208"/>
                <a:gd name="T58" fmla="*/ 7 w 271"/>
                <a:gd name="T59" fmla="*/ 5 h 208"/>
                <a:gd name="T60" fmla="*/ 7 w 271"/>
                <a:gd name="T61" fmla="*/ 149 h 208"/>
                <a:gd name="T62" fmla="*/ 266 w 271"/>
                <a:gd name="T63" fmla="*/ 149 h 208"/>
                <a:gd name="T64" fmla="*/ 266 w 271"/>
                <a:gd name="T65" fmla="*/ 159 h 208"/>
                <a:gd name="T66" fmla="*/ 7 w 271"/>
                <a:gd name="T67" fmla="*/ 159 h 208"/>
                <a:gd name="T68" fmla="*/ 7 w 271"/>
                <a:gd name="T69" fmla="*/ 149 h 208"/>
                <a:gd name="T70" fmla="*/ 7 w 271"/>
                <a:gd name="T71" fmla="*/ 180 h 208"/>
                <a:gd name="T72" fmla="*/ 266 w 271"/>
                <a:gd name="T73" fmla="*/ 180 h 208"/>
                <a:gd name="T74" fmla="*/ 266 w 271"/>
                <a:gd name="T75" fmla="*/ 187 h 208"/>
                <a:gd name="T76" fmla="*/ 7 w 271"/>
                <a:gd name="T77" fmla="*/ 187 h 208"/>
                <a:gd name="T78" fmla="*/ 7 w 271"/>
                <a:gd name="T79" fmla="*/ 18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208">
                  <a:moveTo>
                    <a:pt x="271" y="194"/>
                  </a:moveTo>
                  <a:lnTo>
                    <a:pt x="271" y="187"/>
                  </a:lnTo>
                  <a:lnTo>
                    <a:pt x="271" y="180"/>
                  </a:lnTo>
                  <a:lnTo>
                    <a:pt x="271" y="173"/>
                  </a:lnTo>
                  <a:lnTo>
                    <a:pt x="271" y="164"/>
                  </a:lnTo>
                  <a:lnTo>
                    <a:pt x="271" y="159"/>
                  </a:lnTo>
                  <a:lnTo>
                    <a:pt x="271" y="149"/>
                  </a:lnTo>
                  <a:lnTo>
                    <a:pt x="271" y="145"/>
                  </a:lnTo>
                  <a:lnTo>
                    <a:pt x="271" y="135"/>
                  </a:lnTo>
                  <a:lnTo>
                    <a:pt x="271" y="128"/>
                  </a:lnTo>
                  <a:lnTo>
                    <a:pt x="271" y="0"/>
                  </a:lnTo>
                  <a:lnTo>
                    <a:pt x="0" y="0"/>
                  </a:lnTo>
                  <a:lnTo>
                    <a:pt x="0" y="128"/>
                  </a:lnTo>
                  <a:lnTo>
                    <a:pt x="0" y="135"/>
                  </a:lnTo>
                  <a:lnTo>
                    <a:pt x="0" y="145"/>
                  </a:lnTo>
                  <a:lnTo>
                    <a:pt x="0" y="149"/>
                  </a:lnTo>
                  <a:lnTo>
                    <a:pt x="0" y="159"/>
                  </a:lnTo>
                  <a:lnTo>
                    <a:pt x="0" y="164"/>
                  </a:lnTo>
                  <a:lnTo>
                    <a:pt x="0" y="173"/>
                  </a:lnTo>
                  <a:lnTo>
                    <a:pt x="0" y="180"/>
                  </a:lnTo>
                  <a:lnTo>
                    <a:pt x="0" y="187"/>
                  </a:lnTo>
                  <a:lnTo>
                    <a:pt x="0" y="194"/>
                  </a:lnTo>
                  <a:lnTo>
                    <a:pt x="0" y="208"/>
                  </a:lnTo>
                  <a:lnTo>
                    <a:pt x="271" y="208"/>
                  </a:lnTo>
                  <a:lnTo>
                    <a:pt x="271" y="194"/>
                  </a:lnTo>
                  <a:close/>
                  <a:moveTo>
                    <a:pt x="7" y="5"/>
                  </a:moveTo>
                  <a:lnTo>
                    <a:pt x="266" y="5"/>
                  </a:lnTo>
                  <a:lnTo>
                    <a:pt x="266" y="128"/>
                  </a:lnTo>
                  <a:lnTo>
                    <a:pt x="7" y="128"/>
                  </a:lnTo>
                  <a:lnTo>
                    <a:pt x="7" y="5"/>
                  </a:lnTo>
                  <a:close/>
                  <a:moveTo>
                    <a:pt x="7" y="149"/>
                  </a:moveTo>
                  <a:lnTo>
                    <a:pt x="266" y="149"/>
                  </a:lnTo>
                  <a:lnTo>
                    <a:pt x="266" y="159"/>
                  </a:lnTo>
                  <a:lnTo>
                    <a:pt x="7" y="159"/>
                  </a:lnTo>
                  <a:lnTo>
                    <a:pt x="7" y="149"/>
                  </a:lnTo>
                  <a:close/>
                  <a:moveTo>
                    <a:pt x="7" y="180"/>
                  </a:moveTo>
                  <a:lnTo>
                    <a:pt x="266" y="180"/>
                  </a:lnTo>
                  <a:lnTo>
                    <a:pt x="266" y="187"/>
                  </a:lnTo>
                  <a:lnTo>
                    <a:pt x="7" y="187"/>
                  </a:lnTo>
                  <a:lnTo>
                    <a:pt x="7"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淘宝网chenying0907出品 69"/>
            <p:cNvSpPr>
              <a:spLocks noEditPoints="1"/>
            </p:cNvSpPr>
            <p:nvPr/>
          </p:nvSpPr>
          <p:spPr bwMode="auto">
            <a:xfrm>
              <a:off x="2714626" y="2443163"/>
              <a:ext cx="377825" cy="161925"/>
            </a:xfrm>
            <a:custGeom>
              <a:avLst/>
              <a:gdLst>
                <a:gd name="T0" fmla="*/ 93 w 101"/>
                <a:gd name="T1" fmla="*/ 0 h 43"/>
                <a:gd name="T2" fmla="*/ 9 w 101"/>
                <a:gd name="T3" fmla="*/ 0 h 43"/>
                <a:gd name="T4" fmla="*/ 0 w 101"/>
                <a:gd name="T5" fmla="*/ 8 h 43"/>
                <a:gd name="T6" fmla="*/ 0 w 101"/>
                <a:gd name="T7" fmla="*/ 34 h 43"/>
                <a:gd name="T8" fmla="*/ 9 w 101"/>
                <a:gd name="T9" fmla="*/ 43 h 43"/>
                <a:gd name="T10" fmla="*/ 93 w 101"/>
                <a:gd name="T11" fmla="*/ 43 h 43"/>
                <a:gd name="T12" fmla="*/ 101 w 101"/>
                <a:gd name="T13" fmla="*/ 34 h 43"/>
                <a:gd name="T14" fmla="*/ 101 w 101"/>
                <a:gd name="T15" fmla="*/ 8 h 43"/>
                <a:gd name="T16" fmla="*/ 93 w 101"/>
                <a:gd name="T17" fmla="*/ 0 h 43"/>
                <a:gd name="T18" fmla="*/ 77 w 101"/>
                <a:gd name="T19" fmla="*/ 38 h 43"/>
                <a:gd name="T20" fmla="*/ 24 w 101"/>
                <a:gd name="T21" fmla="*/ 38 h 43"/>
                <a:gd name="T22" fmla="*/ 8 w 101"/>
                <a:gd name="T23" fmla="*/ 21 h 43"/>
                <a:gd name="T24" fmla="*/ 24 w 101"/>
                <a:gd name="T25" fmla="*/ 5 h 43"/>
                <a:gd name="T26" fmla="*/ 77 w 101"/>
                <a:gd name="T27" fmla="*/ 5 h 43"/>
                <a:gd name="T28" fmla="*/ 94 w 101"/>
                <a:gd name="T29" fmla="*/ 21 h 43"/>
                <a:gd name="T30" fmla="*/ 77 w 101"/>
                <a:gd name="T31"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43">
                  <a:moveTo>
                    <a:pt x="93" y="0"/>
                  </a:moveTo>
                  <a:cubicBezTo>
                    <a:pt x="9" y="0"/>
                    <a:pt x="9" y="0"/>
                    <a:pt x="9" y="0"/>
                  </a:cubicBezTo>
                  <a:cubicBezTo>
                    <a:pt x="9" y="4"/>
                    <a:pt x="5" y="8"/>
                    <a:pt x="0" y="8"/>
                  </a:cubicBezTo>
                  <a:cubicBezTo>
                    <a:pt x="0" y="34"/>
                    <a:pt x="0" y="34"/>
                    <a:pt x="0" y="34"/>
                  </a:cubicBezTo>
                  <a:cubicBezTo>
                    <a:pt x="5" y="34"/>
                    <a:pt x="9" y="38"/>
                    <a:pt x="9" y="43"/>
                  </a:cubicBezTo>
                  <a:cubicBezTo>
                    <a:pt x="93" y="43"/>
                    <a:pt x="93" y="43"/>
                    <a:pt x="93" y="43"/>
                  </a:cubicBezTo>
                  <a:cubicBezTo>
                    <a:pt x="93" y="38"/>
                    <a:pt x="97" y="34"/>
                    <a:pt x="101" y="34"/>
                  </a:cubicBezTo>
                  <a:cubicBezTo>
                    <a:pt x="101" y="8"/>
                    <a:pt x="101" y="8"/>
                    <a:pt x="101" y="8"/>
                  </a:cubicBezTo>
                  <a:cubicBezTo>
                    <a:pt x="97" y="8"/>
                    <a:pt x="93" y="4"/>
                    <a:pt x="93" y="0"/>
                  </a:cubicBezTo>
                  <a:close/>
                  <a:moveTo>
                    <a:pt x="77" y="38"/>
                  </a:moveTo>
                  <a:cubicBezTo>
                    <a:pt x="24" y="38"/>
                    <a:pt x="24" y="38"/>
                    <a:pt x="24" y="38"/>
                  </a:cubicBezTo>
                  <a:cubicBezTo>
                    <a:pt x="15" y="38"/>
                    <a:pt x="8" y="30"/>
                    <a:pt x="8" y="21"/>
                  </a:cubicBezTo>
                  <a:cubicBezTo>
                    <a:pt x="8" y="12"/>
                    <a:pt x="15" y="5"/>
                    <a:pt x="24" y="5"/>
                  </a:cubicBezTo>
                  <a:cubicBezTo>
                    <a:pt x="77" y="5"/>
                    <a:pt x="77" y="5"/>
                    <a:pt x="77" y="5"/>
                  </a:cubicBezTo>
                  <a:cubicBezTo>
                    <a:pt x="87" y="5"/>
                    <a:pt x="94" y="12"/>
                    <a:pt x="94" y="21"/>
                  </a:cubicBezTo>
                  <a:cubicBezTo>
                    <a:pt x="94" y="30"/>
                    <a:pt x="87" y="38"/>
                    <a:pt x="77" y="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淘宝网chenying0907出品 70"/>
            <p:cNvSpPr>
              <a:spLocks noEditPoints="1"/>
            </p:cNvSpPr>
            <p:nvPr/>
          </p:nvSpPr>
          <p:spPr bwMode="auto">
            <a:xfrm>
              <a:off x="2860676" y="2465388"/>
              <a:ext cx="90488" cy="112713"/>
            </a:xfrm>
            <a:custGeom>
              <a:avLst/>
              <a:gdLst>
                <a:gd name="T0" fmla="*/ 12 w 24"/>
                <a:gd name="T1" fmla="*/ 0 h 30"/>
                <a:gd name="T2" fmla="*/ 0 w 24"/>
                <a:gd name="T3" fmla="*/ 15 h 30"/>
                <a:gd name="T4" fmla="*/ 12 w 24"/>
                <a:gd name="T5" fmla="*/ 30 h 30"/>
                <a:gd name="T6" fmla="*/ 24 w 24"/>
                <a:gd name="T7" fmla="*/ 15 h 30"/>
                <a:gd name="T8" fmla="*/ 12 w 24"/>
                <a:gd name="T9" fmla="*/ 0 h 30"/>
                <a:gd name="T10" fmla="*/ 12 w 24"/>
                <a:gd name="T11" fmla="*/ 27 h 30"/>
                <a:gd name="T12" fmla="*/ 2 w 24"/>
                <a:gd name="T13" fmla="*/ 15 h 30"/>
                <a:gd name="T14" fmla="*/ 12 w 24"/>
                <a:gd name="T15" fmla="*/ 3 h 30"/>
                <a:gd name="T16" fmla="*/ 21 w 24"/>
                <a:gd name="T17" fmla="*/ 15 h 30"/>
                <a:gd name="T18" fmla="*/ 12 w 24"/>
                <a:gd name="T19"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0">
                  <a:moveTo>
                    <a:pt x="12" y="0"/>
                  </a:moveTo>
                  <a:cubicBezTo>
                    <a:pt x="5" y="0"/>
                    <a:pt x="0" y="7"/>
                    <a:pt x="0" y="15"/>
                  </a:cubicBezTo>
                  <a:cubicBezTo>
                    <a:pt x="0" y="23"/>
                    <a:pt x="5" y="30"/>
                    <a:pt x="12" y="30"/>
                  </a:cubicBezTo>
                  <a:cubicBezTo>
                    <a:pt x="18" y="30"/>
                    <a:pt x="24" y="23"/>
                    <a:pt x="24" y="15"/>
                  </a:cubicBezTo>
                  <a:cubicBezTo>
                    <a:pt x="24" y="7"/>
                    <a:pt x="18" y="0"/>
                    <a:pt x="12" y="0"/>
                  </a:cubicBezTo>
                  <a:close/>
                  <a:moveTo>
                    <a:pt x="12" y="27"/>
                  </a:moveTo>
                  <a:cubicBezTo>
                    <a:pt x="7" y="27"/>
                    <a:pt x="2" y="22"/>
                    <a:pt x="2" y="15"/>
                  </a:cubicBezTo>
                  <a:cubicBezTo>
                    <a:pt x="2" y="8"/>
                    <a:pt x="7" y="3"/>
                    <a:pt x="12" y="3"/>
                  </a:cubicBezTo>
                  <a:cubicBezTo>
                    <a:pt x="17" y="3"/>
                    <a:pt x="21" y="8"/>
                    <a:pt x="21" y="15"/>
                  </a:cubicBezTo>
                  <a:cubicBezTo>
                    <a:pt x="21" y="22"/>
                    <a:pt x="17" y="27"/>
                    <a:pt x="12"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05" name="淘宝网chenying0907出品 58"/>
          <p:cNvGrpSpPr/>
          <p:nvPr/>
        </p:nvGrpSpPr>
        <p:grpSpPr>
          <a:xfrm>
            <a:off x="1543137" y="1798351"/>
            <a:ext cx="523017" cy="455380"/>
            <a:chOff x="1581150" y="2789238"/>
            <a:chExt cx="431801" cy="412750"/>
          </a:xfrm>
          <a:solidFill>
            <a:srgbClr val="2C53B6"/>
          </a:solidFill>
        </p:grpSpPr>
        <p:sp>
          <p:nvSpPr>
            <p:cNvPr id="106" name="淘宝网chenying0907出品 75"/>
            <p:cNvSpPr>
              <a:spLocks noEditPoints="1"/>
            </p:cNvSpPr>
            <p:nvPr/>
          </p:nvSpPr>
          <p:spPr bwMode="auto">
            <a:xfrm>
              <a:off x="1581150" y="2789238"/>
              <a:ext cx="431801" cy="412750"/>
            </a:xfrm>
            <a:custGeom>
              <a:avLst/>
              <a:gdLst>
                <a:gd name="T0" fmla="*/ 0 w 115"/>
                <a:gd name="T1" fmla="*/ 26 h 110"/>
                <a:gd name="T2" fmla="*/ 0 w 115"/>
                <a:gd name="T3" fmla="*/ 34 h 110"/>
                <a:gd name="T4" fmla="*/ 0 w 115"/>
                <a:gd name="T5" fmla="*/ 90 h 110"/>
                <a:gd name="T6" fmla="*/ 19 w 115"/>
                <a:gd name="T7" fmla="*/ 110 h 110"/>
                <a:gd name="T8" fmla="*/ 115 w 115"/>
                <a:gd name="T9" fmla="*/ 110 h 110"/>
                <a:gd name="T10" fmla="*/ 115 w 115"/>
                <a:gd name="T11" fmla="*/ 50 h 110"/>
                <a:gd name="T12" fmla="*/ 115 w 115"/>
                <a:gd name="T13" fmla="*/ 31 h 110"/>
                <a:gd name="T14" fmla="*/ 115 w 115"/>
                <a:gd name="T15" fmla="*/ 24 h 110"/>
                <a:gd name="T16" fmla="*/ 84 w 115"/>
                <a:gd name="T17" fmla="*/ 16 h 110"/>
                <a:gd name="T18" fmla="*/ 68 w 115"/>
                <a:gd name="T19" fmla="*/ 0 h 110"/>
                <a:gd name="T20" fmla="*/ 31 w 115"/>
                <a:gd name="T21" fmla="*/ 16 h 110"/>
                <a:gd name="T22" fmla="*/ 0 w 115"/>
                <a:gd name="T23" fmla="*/ 16 h 110"/>
                <a:gd name="T24" fmla="*/ 2 w 115"/>
                <a:gd name="T25" fmla="*/ 19 h 110"/>
                <a:gd name="T26" fmla="*/ 31 w 115"/>
                <a:gd name="T27" fmla="*/ 24 h 110"/>
                <a:gd name="T28" fmla="*/ 2 w 115"/>
                <a:gd name="T29" fmla="*/ 19 h 110"/>
                <a:gd name="T30" fmla="*/ 107 w 115"/>
                <a:gd name="T31" fmla="*/ 101 h 110"/>
                <a:gd name="T32" fmla="*/ 96 w 115"/>
                <a:gd name="T33" fmla="*/ 107 h 110"/>
                <a:gd name="T34" fmla="*/ 14 w 115"/>
                <a:gd name="T35" fmla="*/ 104 h 110"/>
                <a:gd name="T36" fmla="*/ 6 w 115"/>
                <a:gd name="T37" fmla="*/ 95 h 110"/>
                <a:gd name="T38" fmla="*/ 2 w 115"/>
                <a:gd name="T39" fmla="*/ 50 h 110"/>
                <a:gd name="T40" fmla="*/ 8 w 115"/>
                <a:gd name="T41" fmla="*/ 40 h 110"/>
                <a:gd name="T42" fmla="*/ 19 w 115"/>
                <a:gd name="T43" fmla="*/ 34 h 110"/>
                <a:gd name="T44" fmla="*/ 101 w 115"/>
                <a:gd name="T45" fmla="*/ 37 h 110"/>
                <a:gd name="T46" fmla="*/ 109 w 115"/>
                <a:gd name="T47" fmla="*/ 46 h 110"/>
                <a:gd name="T48" fmla="*/ 113 w 115"/>
                <a:gd name="T49" fmla="*/ 90 h 110"/>
                <a:gd name="T50" fmla="*/ 113 w 115"/>
                <a:gd name="T51" fmla="*/ 31 h 110"/>
                <a:gd name="T52" fmla="*/ 19 w 115"/>
                <a:gd name="T53" fmla="*/ 31 h 110"/>
                <a:gd name="T54" fmla="*/ 2 w 115"/>
                <a:gd name="T55" fmla="*/ 26 h 110"/>
                <a:gd name="T56" fmla="*/ 39 w 115"/>
                <a:gd name="T57" fmla="*/ 26 h 110"/>
                <a:gd name="T58" fmla="*/ 84 w 115"/>
                <a:gd name="T59" fmla="*/ 26 h 110"/>
                <a:gd name="T60" fmla="*/ 113 w 115"/>
                <a:gd name="T61" fmla="*/ 31 h 110"/>
                <a:gd name="T62" fmla="*/ 68 w 115"/>
                <a:gd name="T63" fmla="*/ 8 h 110"/>
                <a:gd name="T64" fmla="*/ 76 w 115"/>
                <a:gd name="T65" fmla="*/ 16 h 110"/>
                <a:gd name="T66" fmla="*/ 39 w 115"/>
                <a:gd name="T67" fmla="*/ 16 h 110"/>
                <a:gd name="T68" fmla="*/ 76 w 115"/>
                <a:gd name="T69" fmla="*/ 19 h 110"/>
                <a:gd name="T70" fmla="*/ 39 w 115"/>
                <a:gd name="T71" fmla="*/ 24 h 110"/>
                <a:gd name="T72" fmla="*/ 76 w 115"/>
                <a:gd name="T73" fmla="*/ 19 h 110"/>
                <a:gd name="T74" fmla="*/ 84 w 115"/>
                <a:gd name="T75" fmla="*/ 24 h 110"/>
                <a:gd name="T76" fmla="*/ 113 w 115"/>
                <a:gd name="T7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 h="110">
                  <a:moveTo>
                    <a:pt x="0" y="24"/>
                  </a:moveTo>
                  <a:cubicBezTo>
                    <a:pt x="0" y="26"/>
                    <a:pt x="0" y="26"/>
                    <a:pt x="0" y="26"/>
                  </a:cubicBezTo>
                  <a:cubicBezTo>
                    <a:pt x="0" y="31"/>
                    <a:pt x="0" y="31"/>
                    <a:pt x="0" y="31"/>
                  </a:cubicBezTo>
                  <a:cubicBezTo>
                    <a:pt x="0" y="34"/>
                    <a:pt x="0" y="34"/>
                    <a:pt x="0" y="34"/>
                  </a:cubicBezTo>
                  <a:cubicBezTo>
                    <a:pt x="0" y="50"/>
                    <a:pt x="0" y="50"/>
                    <a:pt x="0" y="50"/>
                  </a:cubicBezTo>
                  <a:cubicBezTo>
                    <a:pt x="0" y="90"/>
                    <a:pt x="0" y="90"/>
                    <a:pt x="0" y="90"/>
                  </a:cubicBezTo>
                  <a:cubicBezTo>
                    <a:pt x="0" y="110"/>
                    <a:pt x="0" y="110"/>
                    <a:pt x="0" y="110"/>
                  </a:cubicBezTo>
                  <a:cubicBezTo>
                    <a:pt x="19" y="110"/>
                    <a:pt x="19" y="110"/>
                    <a:pt x="19" y="110"/>
                  </a:cubicBezTo>
                  <a:cubicBezTo>
                    <a:pt x="96" y="110"/>
                    <a:pt x="96" y="110"/>
                    <a:pt x="96" y="110"/>
                  </a:cubicBezTo>
                  <a:cubicBezTo>
                    <a:pt x="115" y="110"/>
                    <a:pt x="115" y="110"/>
                    <a:pt x="115" y="110"/>
                  </a:cubicBezTo>
                  <a:cubicBezTo>
                    <a:pt x="115" y="90"/>
                    <a:pt x="115" y="90"/>
                    <a:pt x="115" y="90"/>
                  </a:cubicBezTo>
                  <a:cubicBezTo>
                    <a:pt x="115" y="50"/>
                    <a:pt x="115" y="50"/>
                    <a:pt x="115" y="50"/>
                  </a:cubicBezTo>
                  <a:cubicBezTo>
                    <a:pt x="115" y="34"/>
                    <a:pt x="115" y="34"/>
                    <a:pt x="115" y="34"/>
                  </a:cubicBezTo>
                  <a:cubicBezTo>
                    <a:pt x="115" y="31"/>
                    <a:pt x="115" y="31"/>
                    <a:pt x="115" y="31"/>
                  </a:cubicBezTo>
                  <a:cubicBezTo>
                    <a:pt x="115" y="26"/>
                    <a:pt x="115" y="26"/>
                    <a:pt x="115" y="26"/>
                  </a:cubicBezTo>
                  <a:cubicBezTo>
                    <a:pt x="115" y="24"/>
                    <a:pt x="115" y="24"/>
                    <a:pt x="115" y="24"/>
                  </a:cubicBezTo>
                  <a:cubicBezTo>
                    <a:pt x="115" y="16"/>
                    <a:pt x="115" y="16"/>
                    <a:pt x="115" y="16"/>
                  </a:cubicBezTo>
                  <a:cubicBezTo>
                    <a:pt x="84" y="16"/>
                    <a:pt x="84" y="16"/>
                    <a:pt x="84" y="16"/>
                  </a:cubicBezTo>
                  <a:cubicBezTo>
                    <a:pt x="84" y="16"/>
                    <a:pt x="84" y="16"/>
                    <a:pt x="84" y="16"/>
                  </a:cubicBezTo>
                  <a:cubicBezTo>
                    <a:pt x="84" y="7"/>
                    <a:pt x="77" y="0"/>
                    <a:pt x="68" y="0"/>
                  </a:cubicBezTo>
                  <a:cubicBezTo>
                    <a:pt x="47" y="0"/>
                    <a:pt x="47" y="0"/>
                    <a:pt x="47" y="0"/>
                  </a:cubicBezTo>
                  <a:cubicBezTo>
                    <a:pt x="38" y="0"/>
                    <a:pt x="31" y="7"/>
                    <a:pt x="31" y="16"/>
                  </a:cubicBezTo>
                  <a:cubicBezTo>
                    <a:pt x="31" y="16"/>
                    <a:pt x="31" y="16"/>
                    <a:pt x="31" y="16"/>
                  </a:cubicBezTo>
                  <a:cubicBezTo>
                    <a:pt x="0" y="16"/>
                    <a:pt x="0" y="16"/>
                    <a:pt x="0" y="16"/>
                  </a:cubicBezTo>
                  <a:lnTo>
                    <a:pt x="0" y="24"/>
                  </a:lnTo>
                  <a:close/>
                  <a:moveTo>
                    <a:pt x="2" y="19"/>
                  </a:moveTo>
                  <a:cubicBezTo>
                    <a:pt x="31" y="19"/>
                    <a:pt x="31" y="19"/>
                    <a:pt x="31" y="19"/>
                  </a:cubicBezTo>
                  <a:cubicBezTo>
                    <a:pt x="31" y="24"/>
                    <a:pt x="31" y="24"/>
                    <a:pt x="31" y="24"/>
                  </a:cubicBezTo>
                  <a:cubicBezTo>
                    <a:pt x="2" y="24"/>
                    <a:pt x="2" y="24"/>
                    <a:pt x="2" y="24"/>
                  </a:cubicBezTo>
                  <a:lnTo>
                    <a:pt x="2" y="19"/>
                  </a:lnTo>
                  <a:close/>
                  <a:moveTo>
                    <a:pt x="109" y="95"/>
                  </a:moveTo>
                  <a:cubicBezTo>
                    <a:pt x="109" y="97"/>
                    <a:pt x="108" y="99"/>
                    <a:pt x="107" y="101"/>
                  </a:cubicBezTo>
                  <a:cubicBezTo>
                    <a:pt x="105" y="103"/>
                    <a:pt x="103" y="104"/>
                    <a:pt x="101" y="104"/>
                  </a:cubicBezTo>
                  <a:cubicBezTo>
                    <a:pt x="98" y="104"/>
                    <a:pt x="97" y="105"/>
                    <a:pt x="96" y="107"/>
                  </a:cubicBezTo>
                  <a:cubicBezTo>
                    <a:pt x="19" y="107"/>
                    <a:pt x="19" y="107"/>
                    <a:pt x="19" y="107"/>
                  </a:cubicBezTo>
                  <a:cubicBezTo>
                    <a:pt x="18" y="105"/>
                    <a:pt x="17" y="104"/>
                    <a:pt x="14" y="104"/>
                  </a:cubicBezTo>
                  <a:cubicBezTo>
                    <a:pt x="12" y="104"/>
                    <a:pt x="10" y="103"/>
                    <a:pt x="8" y="101"/>
                  </a:cubicBezTo>
                  <a:cubicBezTo>
                    <a:pt x="7" y="99"/>
                    <a:pt x="6" y="97"/>
                    <a:pt x="6" y="95"/>
                  </a:cubicBezTo>
                  <a:cubicBezTo>
                    <a:pt x="6" y="93"/>
                    <a:pt x="4" y="91"/>
                    <a:pt x="2" y="90"/>
                  </a:cubicBezTo>
                  <a:cubicBezTo>
                    <a:pt x="2" y="50"/>
                    <a:pt x="2" y="50"/>
                    <a:pt x="2" y="50"/>
                  </a:cubicBezTo>
                  <a:cubicBezTo>
                    <a:pt x="4" y="50"/>
                    <a:pt x="6" y="48"/>
                    <a:pt x="6" y="46"/>
                  </a:cubicBezTo>
                  <a:cubicBezTo>
                    <a:pt x="6" y="43"/>
                    <a:pt x="7" y="41"/>
                    <a:pt x="8" y="40"/>
                  </a:cubicBezTo>
                  <a:cubicBezTo>
                    <a:pt x="10" y="38"/>
                    <a:pt x="12" y="37"/>
                    <a:pt x="14" y="37"/>
                  </a:cubicBezTo>
                  <a:cubicBezTo>
                    <a:pt x="17" y="37"/>
                    <a:pt x="18" y="36"/>
                    <a:pt x="19" y="34"/>
                  </a:cubicBezTo>
                  <a:cubicBezTo>
                    <a:pt x="96" y="34"/>
                    <a:pt x="96" y="34"/>
                    <a:pt x="96" y="34"/>
                  </a:cubicBezTo>
                  <a:cubicBezTo>
                    <a:pt x="97" y="36"/>
                    <a:pt x="98" y="37"/>
                    <a:pt x="101" y="37"/>
                  </a:cubicBezTo>
                  <a:cubicBezTo>
                    <a:pt x="103" y="37"/>
                    <a:pt x="105" y="38"/>
                    <a:pt x="107" y="40"/>
                  </a:cubicBezTo>
                  <a:cubicBezTo>
                    <a:pt x="108" y="41"/>
                    <a:pt x="109" y="43"/>
                    <a:pt x="109" y="46"/>
                  </a:cubicBezTo>
                  <a:cubicBezTo>
                    <a:pt x="109" y="48"/>
                    <a:pt x="111" y="50"/>
                    <a:pt x="113" y="50"/>
                  </a:cubicBezTo>
                  <a:cubicBezTo>
                    <a:pt x="113" y="90"/>
                    <a:pt x="113" y="90"/>
                    <a:pt x="113" y="90"/>
                  </a:cubicBezTo>
                  <a:cubicBezTo>
                    <a:pt x="111" y="91"/>
                    <a:pt x="109" y="93"/>
                    <a:pt x="109" y="95"/>
                  </a:cubicBezTo>
                  <a:close/>
                  <a:moveTo>
                    <a:pt x="113" y="31"/>
                  </a:moveTo>
                  <a:cubicBezTo>
                    <a:pt x="96" y="31"/>
                    <a:pt x="96" y="31"/>
                    <a:pt x="96" y="31"/>
                  </a:cubicBezTo>
                  <a:cubicBezTo>
                    <a:pt x="19" y="31"/>
                    <a:pt x="19" y="31"/>
                    <a:pt x="19" y="31"/>
                  </a:cubicBezTo>
                  <a:cubicBezTo>
                    <a:pt x="2" y="31"/>
                    <a:pt x="2" y="31"/>
                    <a:pt x="2" y="31"/>
                  </a:cubicBezTo>
                  <a:cubicBezTo>
                    <a:pt x="2" y="26"/>
                    <a:pt x="2" y="26"/>
                    <a:pt x="2" y="26"/>
                  </a:cubicBezTo>
                  <a:cubicBezTo>
                    <a:pt x="31" y="26"/>
                    <a:pt x="31" y="26"/>
                    <a:pt x="31" y="26"/>
                  </a:cubicBezTo>
                  <a:cubicBezTo>
                    <a:pt x="39" y="26"/>
                    <a:pt x="39" y="26"/>
                    <a:pt x="39" y="26"/>
                  </a:cubicBezTo>
                  <a:cubicBezTo>
                    <a:pt x="76" y="26"/>
                    <a:pt x="76" y="26"/>
                    <a:pt x="76" y="26"/>
                  </a:cubicBezTo>
                  <a:cubicBezTo>
                    <a:pt x="84" y="26"/>
                    <a:pt x="84" y="26"/>
                    <a:pt x="84" y="26"/>
                  </a:cubicBezTo>
                  <a:cubicBezTo>
                    <a:pt x="113" y="26"/>
                    <a:pt x="113" y="26"/>
                    <a:pt x="113" y="26"/>
                  </a:cubicBezTo>
                  <a:lnTo>
                    <a:pt x="113" y="31"/>
                  </a:lnTo>
                  <a:close/>
                  <a:moveTo>
                    <a:pt x="47" y="8"/>
                  </a:moveTo>
                  <a:cubicBezTo>
                    <a:pt x="68" y="8"/>
                    <a:pt x="68" y="8"/>
                    <a:pt x="68" y="8"/>
                  </a:cubicBezTo>
                  <a:cubicBezTo>
                    <a:pt x="72" y="8"/>
                    <a:pt x="76" y="12"/>
                    <a:pt x="76" y="16"/>
                  </a:cubicBezTo>
                  <a:cubicBezTo>
                    <a:pt x="76" y="16"/>
                    <a:pt x="76" y="16"/>
                    <a:pt x="76" y="16"/>
                  </a:cubicBezTo>
                  <a:cubicBezTo>
                    <a:pt x="39" y="16"/>
                    <a:pt x="39" y="16"/>
                    <a:pt x="39" y="16"/>
                  </a:cubicBezTo>
                  <a:cubicBezTo>
                    <a:pt x="39" y="16"/>
                    <a:pt x="39" y="16"/>
                    <a:pt x="39" y="16"/>
                  </a:cubicBezTo>
                  <a:cubicBezTo>
                    <a:pt x="39" y="12"/>
                    <a:pt x="43" y="8"/>
                    <a:pt x="47" y="8"/>
                  </a:cubicBezTo>
                  <a:close/>
                  <a:moveTo>
                    <a:pt x="76" y="19"/>
                  </a:moveTo>
                  <a:cubicBezTo>
                    <a:pt x="76" y="24"/>
                    <a:pt x="76" y="24"/>
                    <a:pt x="76" y="24"/>
                  </a:cubicBezTo>
                  <a:cubicBezTo>
                    <a:pt x="39" y="24"/>
                    <a:pt x="39" y="24"/>
                    <a:pt x="39" y="24"/>
                  </a:cubicBezTo>
                  <a:cubicBezTo>
                    <a:pt x="39" y="19"/>
                    <a:pt x="39" y="19"/>
                    <a:pt x="39" y="19"/>
                  </a:cubicBezTo>
                  <a:lnTo>
                    <a:pt x="76" y="19"/>
                  </a:lnTo>
                  <a:close/>
                  <a:moveTo>
                    <a:pt x="113" y="24"/>
                  </a:moveTo>
                  <a:cubicBezTo>
                    <a:pt x="84" y="24"/>
                    <a:pt x="84" y="24"/>
                    <a:pt x="84" y="24"/>
                  </a:cubicBezTo>
                  <a:cubicBezTo>
                    <a:pt x="84" y="19"/>
                    <a:pt x="84" y="19"/>
                    <a:pt x="84" y="19"/>
                  </a:cubicBezTo>
                  <a:cubicBezTo>
                    <a:pt x="113" y="19"/>
                    <a:pt x="113" y="19"/>
                    <a:pt x="113" y="19"/>
                  </a:cubicBezTo>
                  <a:lnTo>
                    <a:pt x="113"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淘宝网chenying0907出品 76"/>
            <p:cNvSpPr>
              <a:spLocks noEditPoints="1"/>
            </p:cNvSpPr>
            <p:nvPr/>
          </p:nvSpPr>
          <p:spPr bwMode="auto">
            <a:xfrm>
              <a:off x="1652588" y="2979738"/>
              <a:ext cx="288925" cy="142875"/>
            </a:xfrm>
            <a:custGeom>
              <a:avLst/>
              <a:gdLst>
                <a:gd name="T0" fmla="*/ 0 w 182"/>
                <a:gd name="T1" fmla="*/ 90 h 90"/>
                <a:gd name="T2" fmla="*/ 182 w 182"/>
                <a:gd name="T3" fmla="*/ 90 h 90"/>
                <a:gd name="T4" fmla="*/ 182 w 182"/>
                <a:gd name="T5" fmla="*/ 0 h 90"/>
                <a:gd name="T6" fmla="*/ 0 w 182"/>
                <a:gd name="T7" fmla="*/ 0 h 90"/>
                <a:gd name="T8" fmla="*/ 0 w 182"/>
                <a:gd name="T9" fmla="*/ 90 h 90"/>
                <a:gd name="T10" fmla="*/ 5 w 182"/>
                <a:gd name="T11" fmla="*/ 5 h 90"/>
                <a:gd name="T12" fmla="*/ 177 w 182"/>
                <a:gd name="T13" fmla="*/ 5 h 90"/>
                <a:gd name="T14" fmla="*/ 177 w 182"/>
                <a:gd name="T15" fmla="*/ 85 h 90"/>
                <a:gd name="T16" fmla="*/ 5 w 182"/>
                <a:gd name="T17" fmla="*/ 85 h 90"/>
                <a:gd name="T18" fmla="*/ 5 w 182"/>
                <a:gd name="T1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90">
                  <a:moveTo>
                    <a:pt x="0" y="90"/>
                  </a:moveTo>
                  <a:lnTo>
                    <a:pt x="182" y="90"/>
                  </a:lnTo>
                  <a:lnTo>
                    <a:pt x="182" y="0"/>
                  </a:lnTo>
                  <a:lnTo>
                    <a:pt x="0" y="0"/>
                  </a:lnTo>
                  <a:lnTo>
                    <a:pt x="0" y="90"/>
                  </a:lnTo>
                  <a:close/>
                  <a:moveTo>
                    <a:pt x="5" y="5"/>
                  </a:moveTo>
                  <a:lnTo>
                    <a:pt x="177" y="5"/>
                  </a:lnTo>
                  <a:lnTo>
                    <a:pt x="177" y="85"/>
                  </a:lnTo>
                  <a:lnTo>
                    <a:pt x="5" y="85"/>
                  </a:lnTo>
                  <a:lnTo>
                    <a:pt x="5" y="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淘宝网chenying0907出品 77"/>
            <p:cNvSpPr>
              <a:spLocks noEditPoints="1"/>
            </p:cNvSpPr>
            <p:nvPr/>
          </p:nvSpPr>
          <p:spPr bwMode="auto">
            <a:xfrm>
              <a:off x="1671638" y="2998788"/>
              <a:ext cx="250825" cy="104775"/>
            </a:xfrm>
            <a:custGeom>
              <a:avLst/>
              <a:gdLst>
                <a:gd name="T0" fmla="*/ 61 w 67"/>
                <a:gd name="T1" fmla="*/ 0 h 28"/>
                <a:gd name="T2" fmla="*/ 6 w 67"/>
                <a:gd name="T3" fmla="*/ 0 h 28"/>
                <a:gd name="T4" fmla="*/ 0 w 67"/>
                <a:gd name="T5" fmla="*/ 5 h 28"/>
                <a:gd name="T6" fmla="*/ 0 w 67"/>
                <a:gd name="T7" fmla="*/ 22 h 28"/>
                <a:gd name="T8" fmla="*/ 6 w 67"/>
                <a:gd name="T9" fmla="*/ 28 h 28"/>
                <a:gd name="T10" fmla="*/ 61 w 67"/>
                <a:gd name="T11" fmla="*/ 28 h 28"/>
                <a:gd name="T12" fmla="*/ 67 w 67"/>
                <a:gd name="T13" fmla="*/ 22 h 28"/>
                <a:gd name="T14" fmla="*/ 67 w 67"/>
                <a:gd name="T15" fmla="*/ 5 h 28"/>
                <a:gd name="T16" fmla="*/ 61 w 67"/>
                <a:gd name="T17" fmla="*/ 0 h 28"/>
                <a:gd name="T18" fmla="*/ 51 w 67"/>
                <a:gd name="T19" fmla="*/ 25 h 28"/>
                <a:gd name="T20" fmla="*/ 16 w 67"/>
                <a:gd name="T21" fmla="*/ 25 h 28"/>
                <a:gd name="T22" fmla="*/ 5 w 67"/>
                <a:gd name="T23" fmla="*/ 14 h 28"/>
                <a:gd name="T24" fmla="*/ 16 w 67"/>
                <a:gd name="T25" fmla="*/ 3 h 28"/>
                <a:gd name="T26" fmla="*/ 51 w 67"/>
                <a:gd name="T27" fmla="*/ 3 h 28"/>
                <a:gd name="T28" fmla="*/ 62 w 67"/>
                <a:gd name="T29" fmla="*/ 14 h 28"/>
                <a:gd name="T30" fmla="*/ 51 w 67"/>
                <a:gd name="T3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28">
                  <a:moveTo>
                    <a:pt x="61" y="0"/>
                  </a:moveTo>
                  <a:cubicBezTo>
                    <a:pt x="6" y="0"/>
                    <a:pt x="6" y="0"/>
                    <a:pt x="6" y="0"/>
                  </a:cubicBezTo>
                  <a:cubicBezTo>
                    <a:pt x="6" y="3"/>
                    <a:pt x="3" y="5"/>
                    <a:pt x="0" y="5"/>
                  </a:cubicBezTo>
                  <a:cubicBezTo>
                    <a:pt x="0" y="22"/>
                    <a:pt x="0" y="22"/>
                    <a:pt x="0" y="22"/>
                  </a:cubicBezTo>
                  <a:cubicBezTo>
                    <a:pt x="3" y="22"/>
                    <a:pt x="6" y="25"/>
                    <a:pt x="6" y="28"/>
                  </a:cubicBezTo>
                  <a:cubicBezTo>
                    <a:pt x="61" y="28"/>
                    <a:pt x="61" y="28"/>
                    <a:pt x="61" y="28"/>
                  </a:cubicBezTo>
                  <a:cubicBezTo>
                    <a:pt x="61" y="25"/>
                    <a:pt x="64" y="22"/>
                    <a:pt x="67" y="22"/>
                  </a:cubicBezTo>
                  <a:cubicBezTo>
                    <a:pt x="67" y="5"/>
                    <a:pt x="67" y="5"/>
                    <a:pt x="67" y="5"/>
                  </a:cubicBezTo>
                  <a:cubicBezTo>
                    <a:pt x="64" y="5"/>
                    <a:pt x="61" y="3"/>
                    <a:pt x="61" y="0"/>
                  </a:cubicBezTo>
                  <a:close/>
                  <a:moveTo>
                    <a:pt x="51" y="25"/>
                  </a:moveTo>
                  <a:cubicBezTo>
                    <a:pt x="16" y="25"/>
                    <a:pt x="16" y="25"/>
                    <a:pt x="16" y="25"/>
                  </a:cubicBezTo>
                  <a:cubicBezTo>
                    <a:pt x="10" y="25"/>
                    <a:pt x="5" y="20"/>
                    <a:pt x="5" y="14"/>
                  </a:cubicBezTo>
                  <a:cubicBezTo>
                    <a:pt x="5" y="8"/>
                    <a:pt x="10" y="3"/>
                    <a:pt x="16" y="3"/>
                  </a:cubicBezTo>
                  <a:cubicBezTo>
                    <a:pt x="51" y="3"/>
                    <a:pt x="51" y="3"/>
                    <a:pt x="51" y="3"/>
                  </a:cubicBezTo>
                  <a:cubicBezTo>
                    <a:pt x="57" y="3"/>
                    <a:pt x="62" y="8"/>
                    <a:pt x="62" y="14"/>
                  </a:cubicBezTo>
                  <a:cubicBezTo>
                    <a:pt x="62" y="20"/>
                    <a:pt x="57" y="25"/>
                    <a:pt x="51"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淘宝网chenying0907出品 78"/>
            <p:cNvSpPr>
              <a:spLocks noEditPoints="1"/>
            </p:cNvSpPr>
            <p:nvPr/>
          </p:nvSpPr>
          <p:spPr bwMode="auto">
            <a:xfrm>
              <a:off x="1765300" y="3014663"/>
              <a:ext cx="63500" cy="74613"/>
            </a:xfrm>
            <a:custGeom>
              <a:avLst/>
              <a:gdLst>
                <a:gd name="T0" fmla="*/ 9 w 17"/>
                <a:gd name="T1" fmla="*/ 0 h 20"/>
                <a:gd name="T2" fmla="*/ 0 w 17"/>
                <a:gd name="T3" fmla="*/ 10 h 20"/>
                <a:gd name="T4" fmla="*/ 9 w 17"/>
                <a:gd name="T5" fmla="*/ 20 h 20"/>
                <a:gd name="T6" fmla="*/ 17 w 17"/>
                <a:gd name="T7" fmla="*/ 10 h 20"/>
                <a:gd name="T8" fmla="*/ 9 w 17"/>
                <a:gd name="T9" fmla="*/ 0 h 20"/>
                <a:gd name="T10" fmla="*/ 9 w 17"/>
                <a:gd name="T11" fmla="*/ 18 h 20"/>
                <a:gd name="T12" fmla="*/ 3 w 17"/>
                <a:gd name="T13" fmla="*/ 10 h 20"/>
                <a:gd name="T14" fmla="*/ 9 w 17"/>
                <a:gd name="T15" fmla="*/ 2 h 20"/>
                <a:gd name="T16" fmla="*/ 14 w 17"/>
                <a:gd name="T17" fmla="*/ 10 h 20"/>
                <a:gd name="T18" fmla="*/ 9 w 17"/>
                <a:gd name="T1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0">
                  <a:moveTo>
                    <a:pt x="9" y="0"/>
                  </a:moveTo>
                  <a:cubicBezTo>
                    <a:pt x="4" y="0"/>
                    <a:pt x="0" y="4"/>
                    <a:pt x="0" y="10"/>
                  </a:cubicBezTo>
                  <a:cubicBezTo>
                    <a:pt x="0" y="16"/>
                    <a:pt x="4" y="20"/>
                    <a:pt x="9" y="20"/>
                  </a:cubicBezTo>
                  <a:cubicBezTo>
                    <a:pt x="13" y="20"/>
                    <a:pt x="17" y="16"/>
                    <a:pt x="17" y="10"/>
                  </a:cubicBezTo>
                  <a:cubicBezTo>
                    <a:pt x="17" y="4"/>
                    <a:pt x="13" y="0"/>
                    <a:pt x="9" y="0"/>
                  </a:cubicBezTo>
                  <a:close/>
                  <a:moveTo>
                    <a:pt x="9" y="18"/>
                  </a:moveTo>
                  <a:cubicBezTo>
                    <a:pt x="5" y="18"/>
                    <a:pt x="3" y="14"/>
                    <a:pt x="3" y="10"/>
                  </a:cubicBezTo>
                  <a:cubicBezTo>
                    <a:pt x="3" y="6"/>
                    <a:pt x="5" y="2"/>
                    <a:pt x="9" y="2"/>
                  </a:cubicBezTo>
                  <a:cubicBezTo>
                    <a:pt x="12" y="2"/>
                    <a:pt x="14" y="6"/>
                    <a:pt x="14" y="10"/>
                  </a:cubicBezTo>
                  <a:cubicBezTo>
                    <a:pt x="14" y="14"/>
                    <a:pt x="12" y="18"/>
                    <a:pt x="9"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10" name="TextBox 63"/>
          <p:cNvSpPr txBox="1"/>
          <p:nvPr/>
        </p:nvSpPr>
        <p:spPr>
          <a:xfrm>
            <a:off x="1518434" y="2714910"/>
            <a:ext cx="591829"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6%</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1" name="TextBox 64"/>
          <p:cNvSpPr txBox="1"/>
          <p:nvPr/>
        </p:nvSpPr>
        <p:spPr>
          <a:xfrm>
            <a:off x="2555789" y="2259800"/>
            <a:ext cx="583814"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40%</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2" name="TextBox 67"/>
          <p:cNvSpPr txBox="1"/>
          <p:nvPr/>
        </p:nvSpPr>
        <p:spPr>
          <a:xfrm>
            <a:off x="3649058" y="2601117"/>
            <a:ext cx="554319"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7%</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3" name="TextBox 68"/>
          <p:cNvSpPr txBox="1"/>
          <p:nvPr/>
        </p:nvSpPr>
        <p:spPr>
          <a:xfrm>
            <a:off x="4748116" y="3156645"/>
            <a:ext cx="582211"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2%</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4" name="TextBox 69"/>
          <p:cNvSpPr txBox="1"/>
          <p:nvPr/>
        </p:nvSpPr>
        <p:spPr>
          <a:xfrm>
            <a:off x="5824466" y="3545239"/>
            <a:ext cx="585417"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29%</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5" name="TextBox 70"/>
          <p:cNvSpPr txBox="1"/>
          <p:nvPr/>
        </p:nvSpPr>
        <p:spPr>
          <a:xfrm>
            <a:off x="6907009" y="3019011"/>
            <a:ext cx="590226" cy="369332"/>
          </a:xfrm>
          <a:prstGeom prst="rect">
            <a:avLst/>
          </a:prstGeom>
          <a:noFill/>
        </p:spPr>
        <p:txBody>
          <a:bodyPr wrap="none" rtlCol="0">
            <a:spAutoFit/>
          </a:bodyPr>
          <a:lstStyle/>
          <a:p>
            <a:r>
              <a:rPr lang="en-US" altLang="zh-CN" dirty="0">
                <a:solidFill>
                  <a:schemeClr val="bg1"/>
                </a:solidFill>
                <a:latin typeface="Impact" panose="020B0806030902050204" pitchFamily="34" charset="0"/>
                <a:ea typeface="微软雅黑" panose="020B0503020204020204" pitchFamily="34" charset="-122"/>
              </a:rPr>
              <a:t>35%</a:t>
            </a:r>
            <a:endParaRPr lang="zh-CN" altLang="en-US" dirty="0">
              <a:solidFill>
                <a:schemeClr val="bg1"/>
              </a:solidFill>
              <a:latin typeface="Impact" panose="020B0806030902050204" pitchFamily="34" charset="0"/>
              <a:ea typeface="微软雅黑" panose="020B0503020204020204" pitchFamily="34" charset="-122"/>
            </a:endParaRPr>
          </a:p>
        </p:txBody>
      </p:sp>
      <p:sp>
        <p:nvSpPr>
          <p:cNvPr id="11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17" name="矩形 11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9163">
        <p15:prstTrans prst="pageCurlDouble"/>
      </p:transition>
    </mc:Choice>
    <mc:Fallback xmlns="">
      <p:transition spd="slow" advClick="0" advTm="916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down)">
                                          <p:cBhvr>
                                            <p:cTn id="7" dur="300"/>
                                            <p:tgtEl>
                                              <p:spTgt spid="89"/>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300"/>
                                            <p:tgtEl>
                                              <p:spTgt spid="110"/>
                                            </p:tgtEl>
                                          </p:cBhvr>
                                        </p:animEffect>
                                        <p:anim calcmode="lin" valueType="num">
                                          <p:cBhvr>
                                            <p:cTn id="12" dur="300" fill="hold"/>
                                            <p:tgtEl>
                                              <p:spTgt spid="110"/>
                                            </p:tgtEl>
                                            <p:attrNameLst>
                                              <p:attrName>ppt_x</p:attrName>
                                            </p:attrNameLst>
                                          </p:cBhvr>
                                          <p:tavLst>
                                            <p:tav tm="0">
                                              <p:val>
                                                <p:strVal val="#ppt_x"/>
                                              </p:val>
                                            </p:tav>
                                            <p:tav tm="100000">
                                              <p:val>
                                                <p:strVal val="#ppt_x"/>
                                              </p:val>
                                            </p:tav>
                                          </p:tavLst>
                                        </p:anim>
                                        <p:anim calcmode="lin" valueType="num">
                                          <p:cBhvr>
                                            <p:cTn id="13" dur="300" fill="hold"/>
                                            <p:tgtEl>
                                              <p:spTgt spid="110"/>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down)">
                                          <p:cBhvr>
                                            <p:cTn id="17" dur="300"/>
                                            <p:tgtEl>
                                              <p:spTgt spid="90"/>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111"/>
                                            </p:tgtEl>
                                            <p:attrNameLst>
                                              <p:attrName>style.visibility</p:attrName>
                                            </p:attrNameLst>
                                          </p:cBhvr>
                                          <p:to>
                                            <p:strVal val="visible"/>
                                          </p:to>
                                        </p:set>
                                        <p:animEffect transition="in" filter="fade">
                                          <p:cBhvr>
                                            <p:cTn id="21" dur="300"/>
                                            <p:tgtEl>
                                              <p:spTgt spid="111"/>
                                            </p:tgtEl>
                                          </p:cBhvr>
                                        </p:animEffect>
                                        <p:anim calcmode="lin" valueType="num">
                                          <p:cBhvr>
                                            <p:cTn id="22" dur="300" fill="hold"/>
                                            <p:tgtEl>
                                              <p:spTgt spid="111"/>
                                            </p:tgtEl>
                                            <p:attrNameLst>
                                              <p:attrName>ppt_x</p:attrName>
                                            </p:attrNameLst>
                                          </p:cBhvr>
                                          <p:tavLst>
                                            <p:tav tm="0">
                                              <p:val>
                                                <p:strVal val="#ppt_x"/>
                                              </p:val>
                                            </p:tav>
                                            <p:tav tm="100000">
                                              <p:val>
                                                <p:strVal val="#ppt_x"/>
                                              </p:val>
                                            </p:tav>
                                          </p:tavLst>
                                        </p:anim>
                                        <p:anim calcmode="lin" valueType="num">
                                          <p:cBhvr>
                                            <p:cTn id="23" dur="300" fill="hold"/>
                                            <p:tgtEl>
                                              <p:spTgt spid="111"/>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2" presetClass="entr" presetSubtype="4" fill="hold" grpId="0"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wipe(down)">
                                          <p:cBhvr>
                                            <p:cTn id="27" dur="300"/>
                                            <p:tgtEl>
                                              <p:spTgt spid="91"/>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300"/>
                                            <p:tgtEl>
                                              <p:spTgt spid="112"/>
                                            </p:tgtEl>
                                          </p:cBhvr>
                                        </p:animEffect>
                                        <p:anim calcmode="lin" valueType="num">
                                          <p:cBhvr>
                                            <p:cTn id="32" dur="300" fill="hold"/>
                                            <p:tgtEl>
                                              <p:spTgt spid="112"/>
                                            </p:tgtEl>
                                            <p:attrNameLst>
                                              <p:attrName>ppt_x</p:attrName>
                                            </p:attrNameLst>
                                          </p:cBhvr>
                                          <p:tavLst>
                                            <p:tav tm="0">
                                              <p:val>
                                                <p:strVal val="#ppt_x"/>
                                              </p:val>
                                            </p:tav>
                                            <p:tav tm="100000">
                                              <p:val>
                                                <p:strVal val="#ppt_x"/>
                                              </p:val>
                                            </p:tav>
                                          </p:tavLst>
                                        </p:anim>
                                        <p:anim calcmode="lin" valueType="num">
                                          <p:cBhvr>
                                            <p:cTn id="33" dur="300" fill="hold"/>
                                            <p:tgtEl>
                                              <p:spTgt spid="112"/>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4"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300"/>
                                            <p:tgtEl>
                                              <p:spTgt spid="92"/>
                                            </p:tgtEl>
                                          </p:cBhvr>
                                        </p:animEffect>
                                      </p:childTnLst>
                                    </p:cTn>
                                  </p:par>
                                </p:childTnLst>
                              </p:cTn>
                            </p:par>
                            <p:par>
                              <p:cTn id="38" fill="hold">
                                <p:stCondLst>
                                  <p:cond delay="3500"/>
                                </p:stCondLst>
                                <p:childTnLst>
                                  <p:par>
                                    <p:cTn id="39" presetID="42"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300"/>
                                            <p:tgtEl>
                                              <p:spTgt spid="113"/>
                                            </p:tgtEl>
                                          </p:cBhvr>
                                        </p:animEffect>
                                        <p:anim calcmode="lin" valueType="num">
                                          <p:cBhvr>
                                            <p:cTn id="42" dur="300" fill="hold"/>
                                            <p:tgtEl>
                                              <p:spTgt spid="113"/>
                                            </p:tgtEl>
                                            <p:attrNameLst>
                                              <p:attrName>ppt_x</p:attrName>
                                            </p:attrNameLst>
                                          </p:cBhvr>
                                          <p:tavLst>
                                            <p:tav tm="0">
                                              <p:val>
                                                <p:strVal val="#ppt_x"/>
                                              </p:val>
                                            </p:tav>
                                            <p:tav tm="100000">
                                              <p:val>
                                                <p:strVal val="#ppt_x"/>
                                              </p:val>
                                            </p:tav>
                                          </p:tavLst>
                                        </p:anim>
                                        <p:anim calcmode="lin" valueType="num">
                                          <p:cBhvr>
                                            <p:cTn id="43" dur="300" fill="hold"/>
                                            <p:tgtEl>
                                              <p:spTgt spid="113"/>
                                            </p:tgtEl>
                                            <p:attrNameLst>
                                              <p:attrName>ppt_y</p:attrName>
                                            </p:attrNameLst>
                                          </p:cBhvr>
                                          <p:tavLst>
                                            <p:tav tm="0">
                                              <p:val>
                                                <p:strVal val="#ppt_y+.1"/>
                                              </p:val>
                                            </p:tav>
                                            <p:tav tm="100000">
                                              <p:val>
                                                <p:strVal val="#ppt_y"/>
                                              </p:val>
                                            </p:tav>
                                          </p:tavLst>
                                        </p:anim>
                                      </p:childTnLst>
                                    </p:cTn>
                                  </p:par>
                                </p:childTnLst>
                              </p:cTn>
                            </p:par>
                            <p:par>
                              <p:cTn id="44" fill="hold">
                                <p:stCondLst>
                                  <p:cond delay="4000"/>
                                </p:stCondLst>
                                <p:childTnLst>
                                  <p:par>
                                    <p:cTn id="45" presetID="22" presetClass="entr" presetSubtype="4" fill="hold" grpId="0"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300"/>
                                            <p:tgtEl>
                                              <p:spTgt spid="93"/>
                                            </p:tgtEl>
                                          </p:cBhvr>
                                        </p:animEffect>
                                      </p:childTnLst>
                                    </p:cTn>
                                  </p:par>
                                </p:childTnLst>
                              </p:cTn>
                            </p:par>
                            <p:par>
                              <p:cTn id="48" fill="hold">
                                <p:stCondLst>
                                  <p:cond delay="4500"/>
                                </p:stCondLst>
                                <p:childTnLst>
                                  <p:par>
                                    <p:cTn id="49" presetID="42" presetClass="entr" presetSubtype="0" fill="hold" grpId="0"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anim calcmode="lin" valueType="num">
                                          <p:cBhvr>
                                            <p:cTn id="52" dur="300" fill="hold"/>
                                            <p:tgtEl>
                                              <p:spTgt spid="114"/>
                                            </p:tgtEl>
                                            <p:attrNameLst>
                                              <p:attrName>ppt_x</p:attrName>
                                            </p:attrNameLst>
                                          </p:cBhvr>
                                          <p:tavLst>
                                            <p:tav tm="0">
                                              <p:val>
                                                <p:strVal val="#ppt_x"/>
                                              </p:val>
                                            </p:tav>
                                            <p:tav tm="100000">
                                              <p:val>
                                                <p:strVal val="#ppt_x"/>
                                              </p:val>
                                            </p:tav>
                                          </p:tavLst>
                                        </p:anim>
                                        <p:anim calcmode="lin" valueType="num">
                                          <p:cBhvr>
                                            <p:cTn id="53" dur="300" fill="hold"/>
                                            <p:tgtEl>
                                              <p:spTgt spid="114"/>
                                            </p:tgtEl>
                                            <p:attrNameLst>
                                              <p:attrName>ppt_y</p:attrName>
                                            </p:attrNameLst>
                                          </p:cBhvr>
                                          <p:tavLst>
                                            <p:tav tm="0">
                                              <p:val>
                                                <p:strVal val="#ppt_y+.1"/>
                                              </p:val>
                                            </p:tav>
                                            <p:tav tm="100000">
                                              <p:val>
                                                <p:strVal val="#ppt_y"/>
                                              </p:val>
                                            </p:tav>
                                          </p:tavLst>
                                        </p:anim>
                                      </p:childTnLst>
                                    </p:cTn>
                                  </p:par>
                                </p:childTnLst>
                              </p:cTn>
                            </p:par>
                            <p:par>
                              <p:cTn id="54" fill="hold">
                                <p:stCondLst>
                                  <p:cond delay="5000"/>
                                </p:stCondLst>
                                <p:childTnLst>
                                  <p:par>
                                    <p:cTn id="55" presetID="22" presetClass="entr" presetSubtype="4" fill="hold" grpId="0" nodeType="after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300"/>
                                            <p:tgtEl>
                                              <p:spTgt spid="94"/>
                                            </p:tgtEl>
                                          </p:cBhvr>
                                        </p:animEffect>
                                      </p:childTnLst>
                                    </p:cTn>
                                  </p:par>
                                </p:childTnLst>
                              </p:cTn>
                            </p:par>
                            <p:par>
                              <p:cTn id="58" fill="hold">
                                <p:stCondLst>
                                  <p:cond delay="5500"/>
                                </p:stCondLst>
                                <p:childTnLst>
                                  <p:par>
                                    <p:cTn id="59" presetID="42" presetClass="entr" presetSubtype="0"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300"/>
                                            <p:tgtEl>
                                              <p:spTgt spid="115"/>
                                            </p:tgtEl>
                                          </p:cBhvr>
                                        </p:animEffect>
                                        <p:anim calcmode="lin" valueType="num">
                                          <p:cBhvr>
                                            <p:cTn id="62" dur="300" fill="hold"/>
                                            <p:tgtEl>
                                              <p:spTgt spid="115"/>
                                            </p:tgtEl>
                                            <p:attrNameLst>
                                              <p:attrName>ppt_x</p:attrName>
                                            </p:attrNameLst>
                                          </p:cBhvr>
                                          <p:tavLst>
                                            <p:tav tm="0">
                                              <p:val>
                                                <p:strVal val="#ppt_x"/>
                                              </p:val>
                                            </p:tav>
                                            <p:tav tm="100000">
                                              <p:val>
                                                <p:strVal val="#ppt_x"/>
                                              </p:val>
                                            </p:tav>
                                          </p:tavLst>
                                        </p:anim>
                                        <p:anim calcmode="lin" valueType="num">
                                          <p:cBhvr>
                                            <p:cTn id="63" dur="300" fill="hold"/>
                                            <p:tgtEl>
                                              <p:spTgt spid="115"/>
                                            </p:tgtEl>
                                            <p:attrNameLst>
                                              <p:attrName>ppt_y</p:attrName>
                                            </p:attrNameLst>
                                          </p:cBhvr>
                                          <p:tavLst>
                                            <p:tav tm="0">
                                              <p:val>
                                                <p:strVal val="#ppt_y+.1"/>
                                              </p:val>
                                            </p:tav>
                                            <p:tav tm="100000">
                                              <p:val>
                                                <p:strVal val="#ppt_y"/>
                                              </p:val>
                                            </p:tav>
                                          </p:tavLst>
                                        </p:anim>
                                      </p:childTnLst>
                                    </p:cTn>
                                  </p:par>
                                </p:childTnLst>
                              </p:cTn>
                            </p:par>
                            <p:par>
                              <p:cTn id="64" fill="hold">
                                <p:stCondLst>
                                  <p:cond delay="6000"/>
                                </p:stCondLst>
                                <p:childTnLst>
                                  <p:par>
                                    <p:cTn id="65" presetID="2" presetClass="entr" presetSubtype="1" fill="hold" nodeType="afterEffect" p14:presetBounceEnd="60000">
                                      <p:stCondLst>
                                        <p:cond delay="0"/>
                                      </p:stCondLst>
                                      <p:childTnLst>
                                        <p:set>
                                          <p:cBhvr>
                                            <p:cTn id="66" dur="1" fill="hold">
                                              <p:stCondLst>
                                                <p:cond delay="0"/>
                                              </p:stCondLst>
                                            </p:cTn>
                                            <p:tgtEl>
                                              <p:spTgt spid="105"/>
                                            </p:tgtEl>
                                            <p:attrNameLst>
                                              <p:attrName>style.visibility</p:attrName>
                                            </p:attrNameLst>
                                          </p:cBhvr>
                                          <p:to>
                                            <p:strVal val="visible"/>
                                          </p:to>
                                        </p:set>
                                        <p:anim calcmode="lin" valueType="num" p14:bounceEnd="60000">
                                          <p:cBhvr additive="base">
                                            <p:cTn id="67" dur="300" fill="hold"/>
                                            <p:tgtEl>
                                              <p:spTgt spid="105"/>
                                            </p:tgtEl>
                                            <p:attrNameLst>
                                              <p:attrName>ppt_x</p:attrName>
                                            </p:attrNameLst>
                                          </p:cBhvr>
                                          <p:tavLst>
                                            <p:tav tm="0">
                                              <p:val>
                                                <p:strVal val="#ppt_x"/>
                                              </p:val>
                                            </p:tav>
                                            <p:tav tm="100000">
                                              <p:val>
                                                <p:strVal val="#ppt_x"/>
                                              </p:val>
                                            </p:tav>
                                          </p:tavLst>
                                        </p:anim>
                                        <p:anim calcmode="lin" valueType="num" p14:bounceEnd="60000">
                                          <p:cBhvr additive="base">
                                            <p:cTn id="68" dur="300" fill="hold"/>
                                            <p:tgtEl>
                                              <p:spTgt spid="105"/>
                                            </p:tgtEl>
                                            <p:attrNameLst>
                                              <p:attrName>ppt_y</p:attrName>
                                            </p:attrNameLst>
                                          </p:cBhvr>
                                          <p:tavLst>
                                            <p:tav tm="0">
                                              <p:val>
                                                <p:strVal val="0-#ppt_h/2"/>
                                              </p:val>
                                            </p:tav>
                                            <p:tav tm="100000">
                                              <p:val>
                                                <p:strVal val="#ppt_y"/>
                                              </p:val>
                                            </p:tav>
                                          </p:tavLst>
                                        </p:anim>
                                      </p:childTnLst>
                                    </p:cTn>
                                  </p:par>
                                  <p:par>
                                    <p:cTn id="69" presetID="42" presetClass="path" presetSubtype="0" repeatCount="indefinite" decel="19000" autoRev="1" fill="remove" nodeType="withEffect">
                                      <p:stCondLst>
                                        <p:cond delay="300"/>
                                      </p:stCondLst>
                                      <p:childTnLst>
                                        <p:animMotion origin="layout" path="M -8.33333E-7 -4.38175E-6 L -8.33333E-7 0.01234 " pathEditMode="relative" rAng="0" ptsTypes="AA">
                                          <p:cBhvr>
                                            <p:cTn id="70" dur="1000" fill="hold"/>
                                            <p:tgtEl>
                                              <p:spTgt spid="105"/>
                                            </p:tgtEl>
                                            <p:attrNameLst>
                                              <p:attrName>ppt_x</p:attrName>
                                              <p:attrName>ppt_y</p:attrName>
                                            </p:attrNameLst>
                                          </p:cBhvr>
                                          <p:rCtr x="0" y="617"/>
                                        </p:animMotion>
                                      </p:childTnLst>
                                    </p:cTn>
                                  </p:par>
                                  <p:par>
                                    <p:cTn id="71" presetID="2" presetClass="entr" presetSubtype="1" fill="hold" nodeType="withEffect" p14:presetBounceEnd="60000">
                                      <p:stCondLst>
                                        <p:cond delay="300"/>
                                      </p:stCondLst>
                                      <p:childTnLst>
                                        <p:set>
                                          <p:cBhvr>
                                            <p:cTn id="72" dur="1" fill="hold">
                                              <p:stCondLst>
                                                <p:cond delay="0"/>
                                              </p:stCondLst>
                                            </p:cTn>
                                            <p:tgtEl>
                                              <p:spTgt spid="101"/>
                                            </p:tgtEl>
                                            <p:attrNameLst>
                                              <p:attrName>style.visibility</p:attrName>
                                            </p:attrNameLst>
                                          </p:cBhvr>
                                          <p:to>
                                            <p:strVal val="visible"/>
                                          </p:to>
                                        </p:set>
                                        <p:anim calcmode="lin" valueType="num" p14:bounceEnd="60000">
                                          <p:cBhvr additive="base">
                                            <p:cTn id="73" dur="300" fill="hold"/>
                                            <p:tgtEl>
                                              <p:spTgt spid="101"/>
                                            </p:tgtEl>
                                            <p:attrNameLst>
                                              <p:attrName>ppt_x</p:attrName>
                                            </p:attrNameLst>
                                          </p:cBhvr>
                                          <p:tavLst>
                                            <p:tav tm="0">
                                              <p:val>
                                                <p:strVal val="#ppt_x"/>
                                              </p:val>
                                            </p:tav>
                                            <p:tav tm="100000">
                                              <p:val>
                                                <p:strVal val="#ppt_x"/>
                                              </p:val>
                                            </p:tav>
                                          </p:tavLst>
                                        </p:anim>
                                        <p:anim calcmode="lin" valueType="num" p14:bounceEnd="60000">
                                          <p:cBhvr additive="base">
                                            <p:cTn id="74" dur="300" fill="hold"/>
                                            <p:tgtEl>
                                              <p:spTgt spid="101"/>
                                            </p:tgtEl>
                                            <p:attrNameLst>
                                              <p:attrName>ppt_y</p:attrName>
                                            </p:attrNameLst>
                                          </p:cBhvr>
                                          <p:tavLst>
                                            <p:tav tm="0">
                                              <p:val>
                                                <p:strVal val="0-#ppt_h/2"/>
                                              </p:val>
                                            </p:tav>
                                            <p:tav tm="100000">
                                              <p:val>
                                                <p:strVal val="#ppt_y"/>
                                              </p:val>
                                            </p:tav>
                                          </p:tavLst>
                                        </p:anim>
                                      </p:childTnLst>
                                    </p:cTn>
                                  </p:par>
                                  <p:par>
                                    <p:cTn id="75" presetID="42" presetClass="path" presetSubtype="0" repeatCount="indefinite" decel="19000" autoRev="1" fill="remove" nodeType="withEffect">
                                      <p:stCondLst>
                                        <p:cond delay="600"/>
                                      </p:stCondLst>
                                      <p:childTnLst>
                                        <p:animMotion origin="layout" path="M -8.33333E-7 -4.38175E-6 L -8.33333E-7 0.01234 " pathEditMode="relative" rAng="0" ptsTypes="AA">
                                          <p:cBhvr>
                                            <p:cTn id="76" dur="1000" fill="hold"/>
                                            <p:tgtEl>
                                              <p:spTgt spid="101"/>
                                            </p:tgtEl>
                                            <p:attrNameLst>
                                              <p:attrName>ppt_x</p:attrName>
                                              <p:attrName>ppt_y</p:attrName>
                                            </p:attrNameLst>
                                          </p:cBhvr>
                                          <p:rCtr x="0" y="617"/>
                                        </p:animMotion>
                                      </p:childTnLst>
                                    </p:cTn>
                                  </p:par>
                                  <p:par>
                                    <p:cTn id="77" presetID="2" presetClass="entr" presetSubtype="1" fill="hold" grpId="0" nodeType="withEffect" p14:presetBounceEnd="60000">
                                      <p:stCondLst>
                                        <p:cond delay="600"/>
                                      </p:stCondLst>
                                      <p:childTnLst>
                                        <p:set>
                                          <p:cBhvr>
                                            <p:cTn id="78" dur="1" fill="hold">
                                              <p:stCondLst>
                                                <p:cond delay="0"/>
                                              </p:stCondLst>
                                            </p:cTn>
                                            <p:tgtEl>
                                              <p:spTgt spid="100"/>
                                            </p:tgtEl>
                                            <p:attrNameLst>
                                              <p:attrName>style.visibility</p:attrName>
                                            </p:attrNameLst>
                                          </p:cBhvr>
                                          <p:to>
                                            <p:strVal val="visible"/>
                                          </p:to>
                                        </p:set>
                                        <p:anim calcmode="lin" valueType="num" p14:bounceEnd="60000">
                                          <p:cBhvr additive="base">
                                            <p:cTn id="79" dur="300" fill="hold"/>
                                            <p:tgtEl>
                                              <p:spTgt spid="100"/>
                                            </p:tgtEl>
                                            <p:attrNameLst>
                                              <p:attrName>ppt_x</p:attrName>
                                            </p:attrNameLst>
                                          </p:cBhvr>
                                          <p:tavLst>
                                            <p:tav tm="0">
                                              <p:val>
                                                <p:strVal val="#ppt_x"/>
                                              </p:val>
                                            </p:tav>
                                            <p:tav tm="100000">
                                              <p:val>
                                                <p:strVal val="#ppt_x"/>
                                              </p:val>
                                            </p:tav>
                                          </p:tavLst>
                                        </p:anim>
                                        <p:anim calcmode="lin" valueType="num" p14:bounceEnd="60000">
                                          <p:cBhvr additive="base">
                                            <p:cTn id="80" dur="300" fill="hold"/>
                                            <p:tgtEl>
                                              <p:spTgt spid="100"/>
                                            </p:tgtEl>
                                            <p:attrNameLst>
                                              <p:attrName>ppt_y</p:attrName>
                                            </p:attrNameLst>
                                          </p:cBhvr>
                                          <p:tavLst>
                                            <p:tav tm="0">
                                              <p:val>
                                                <p:strVal val="0-#ppt_h/2"/>
                                              </p:val>
                                            </p:tav>
                                            <p:tav tm="100000">
                                              <p:val>
                                                <p:strVal val="#ppt_y"/>
                                              </p:val>
                                            </p:tav>
                                          </p:tavLst>
                                        </p:anim>
                                      </p:childTnLst>
                                    </p:cTn>
                                  </p:par>
                                  <p:par>
                                    <p:cTn id="81" presetID="42" presetClass="path" presetSubtype="0" repeatCount="indefinite" decel="19000" autoRev="1" fill="remove" grpId="1" nodeType="withEffect">
                                      <p:stCondLst>
                                        <p:cond delay="900"/>
                                      </p:stCondLst>
                                      <p:childTnLst>
                                        <p:animMotion origin="layout" path="M -8.33333E-7 -4.38175E-6 L -8.33333E-7 0.01234 " pathEditMode="relative" rAng="0" ptsTypes="AA">
                                          <p:cBhvr>
                                            <p:cTn id="82" dur="1000" fill="hold"/>
                                            <p:tgtEl>
                                              <p:spTgt spid="100"/>
                                            </p:tgtEl>
                                            <p:attrNameLst>
                                              <p:attrName>ppt_x</p:attrName>
                                              <p:attrName>ppt_y</p:attrName>
                                            </p:attrNameLst>
                                          </p:cBhvr>
                                          <p:rCtr x="0" y="617"/>
                                        </p:animMotion>
                                      </p:childTnLst>
                                    </p:cTn>
                                  </p:par>
                                  <p:par>
                                    <p:cTn id="83" presetID="2" presetClass="entr" presetSubtype="1" fill="hold" grpId="0" nodeType="withEffect" p14:presetBounceEnd="60000">
                                      <p:stCondLst>
                                        <p:cond delay="900"/>
                                      </p:stCondLst>
                                      <p:childTnLst>
                                        <p:set>
                                          <p:cBhvr>
                                            <p:cTn id="84" dur="1" fill="hold">
                                              <p:stCondLst>
                                                <p:cond delay="0"/>
                                              </p:stCondLst>
                                            </p:cTn>
                                            <p:tgtEl>
                                              <p:spTgt spid="99"/>
                                            </p:tgtEl>
                                            <p:attrNameLst>
                                              <p:attrName>style.visibility</p:attrName>
                                            </p:attrNameLst>
                                          </p:cBhvr>
                                          <p:to>
                                            <p:strVal val="visible"/>
                                          </p:to>
                                        </p:set>
                                        <p:anim calcmode="lin" valueType="num" p14:bounceEnd="60000">
                                          <p:cBhvr additive="base">
                                            <p:cTn id="85" dur="300" fill="hold"/>
                                            <p:tgtEl>
                                              <p:spTgt spid="99"/>
                                            </p:tgtEl>
                                            <p:attrNameLst>
                                              <p:attrName>ppt_x</p:attrName>
                                            </p:attrNameLst>
                                          </p:cBhvr>
                                          <p:tavLst>
                                            <p:tav tm="0">
                                              <p:val>
                                                <p:strVal val="#ppt_x"/>
                                              </p:val>
                                            </p:tav>
                                            <p:tav tm="100000">
                                              <p:val>
                                                <p:strVal val="#ppt_x"/>
                                              </p:val>
                                            </p:tav>
                                          </p:tavLst>
                                        </p:anim>
                                        <p:anim calcmode="lin" valueType="num" p14:bounceEnd="60000">
                                          <p:cBhvr additive="base">
                                            <p:cTn id="86" dur="300" fill="hold"/>
                                            <p:tgtEl>
                                              <p:spTgt spid="99"/>
                                            </p:tgtEl>
                                            <p:attrNameLst>
                                              <p:attrName>ppt_y</p:attrName>
                                            </p:attrNameLst>
                                          </p:cBhvr>
                                          <p:tavLst>
                                            <p:tav tm="0">
                                              <p:val>
                                                <p:strVal val="0-#ppt_h/2"/>
                                              </p:val>
                                            </p:tav>
                                            <p:tav tm="100000">
                                              <p:val>
                                                <p:strVal val="#ppt_y"/>
                                              </p:val>
                                            </p:tav>
                                          </p:tavLst>
                                        </p:anim>
                                      </p:childTnLst>
                                    </p:cTn>
                                  </p:par>
                                  <p:par>
                                    <p:cTn id="87" presetID="42" presetClass="path" presetSubtype="0" repeatCount="indefinite" decel="19000" autoRev="1" fill="remove" grpId="1" nodeType="withEffect">
                                      <p:stCondLst>
                                        <p:cond delay="1200"/>
                                      </p:stCondLst>
                                      <p:childTnLst>
                                        <p:animMotion origin="layout" path="M -8.33333E-7 -4.38175E-6 L -8.33333E-7 0.01234 " pathEditMode="relative" rAng="0" ptsTypes="AA">
                                          <p:cBhvr>
                                            <p:cTn id="88" dur="1000" fill="hold"/>
                                            <p:tgtEl>
                                              <p:spTgt spid="99"/>
                                            </p:tgtEl>
                                            <p:attrNameLst>
                                              <p:attrName>ppt_x</p:attrName>
                                              <p:attrName>ppt_y</p:attrName>
                                            </p:attrNameLst>
                                          </p:cBhvr>
                                          <p:rCtr x="0" y="617"/>
                                        </p:animMotion>
                                      </p:childTnLst>
                                    </p:cTn>
                                  </p:par>
                                  <p:par>
                                    <p:cTn id="89" presetID="2" presetClass="entr" presetSubtype="1" fill="hold" grpId="0" nodeType="withEffect" p14:presetBounceEnd="60000">
                                      <p:stCondLst>
                                        <p:cond delay="1200"/>
                                      </p:stCondLst>
                                      <p:childTnLst>
                                        <p:set>
                                          <p:cBhvr>
                                            <p:cTn id="90" dur="1" fill="hold">
                                              <p:stCondLst>
                                                <p:cond delay="0"/>
                                              </p:stCondLst>
                                            </p:cTn>
                                            <p:tgtEl>
                                              <p:spTgt spid="98"/>
                                            </p:tgtEl>
                                            <p:attrNameLst>
                                              <p:attrName>style.visibility</p:attrName>
                                            </p:attrNameLst>
                                          </p:cBhvr>
                                          <p:to>
                                            <p:strVal val="visible"/>
                                          </p:to>
                                        </p:set>
                                        <p:anim calcmode="lin" valueType="num" p14:bounceEnd="60000">
                                          <p:cBhvr additive="base">
                                            <p:cTn id="91" dur="300" fill="hold"/>
                                            <p:tgtEl>
                                              <p:spTgt spid="98"/>
                                            </p:tgtEl>
                                            <p:attrNameLst>
                                              <p:attrName>ppt_x</p:attrName>
                                            </p:attrNameLst>
                                          </p:cBhvr>
                                          <p:tavLst>
                                            <p:tav tm="0">
                                              <p:val>
                                                <p:strVal val="#ppt_x"/>
                                              </p:val>
                                            </p:tav>
                                            <p:tav tm="100000">
                                              <p:val>
                                                <p:strVal val="#ppt_x"/>
                                              </p:val>
                                            </p:tav>
                                          </p:tavLst>
                                        </p:anim>
                                        <p:anim calcmode="lin" valueType="num" p14:bounceEnd="60000">
                                          <p:cBhvr additive="base">
                                            <p:cTn id="92" dur="300" fill="hold"/>
                                            <p:tgtEl>
                                              <p:spTgt spid="98"/>
                                            </p:tgtEl>
                                            <p:attrNameLst>
                                              <p:attrName>ppt_y</p:attrName>
                                            </p:attrNameLst>
                                          </p:cBhvr>
                                          <p:tavLst>
                                            <p:tav tm="0">
                                              <p:val>
                                                <p:strVal val="0-#ppt_h/2"/>
                                              </p:val>
                                            </p:tav>
                                            <p:tav tm="100000">
                                              <p:val>
                                                <p:strVal val="#ppt_y"/>
                                              </p:val>
                                            </p:tav>
                                          </p:tavLst>
                                        </p:anim>
                                      </p:childTnLst>
                                    </p:cTn>
                                  </p:par>
                                  <p:par>
                                    <p:cTn id="93" presetID="42" presetClass="path" presetSubtype="0" repeatCount="indefinite" decel="19000" autoRev="1" fill="remove" grpId="1" nodeType="withEffect">
                                      <p:stCondLst>
                                        <p:cond delay="1500"/>
                                      </p:stCondLst>
                                      <p:childTnLst>
                                        <p:animMotion origin="layout" path="M -8.33333E-7 -4.38175E-6 L -8.33333E-7 0.01234 " pathEditMode="relative" rAng="0" ptsTypes="AA">
                                          <p:cBhvr>
                                            <p:cTn id="94" dur="1000" fill="hold"/>
                                            <p:tgtEl>
                                              <p:spTgt spid="98"/>
                                            </p:tgtEl>
                                            <p:attrNameLst>
                                              <p:attrName>ppt_x</p:attrName>
                                              <p:attrName>ppt_y</p:attrName>
                                            </p:attrNameLst>
                                          </p:cBhvr>
                                          <p:rCtr x="0" y="617"/>
                                        </p:animMotion>
                                      </p:childTnLst>
                                    </p:cTn>
                                  </p:par>
                                  <p:par>
                                    <p:cTn id="95" presetID="2" presetClass="entr" presetSubtype="1" fill="hold" nodeType="withEffect" p14:presetBounceEnd="60000">
                                      <p:stCondLst>
                                        <p:cond delay="1500"/>
                                      </p:stCondLst>
                                      <p:childTnLst>
                                        <p:set>
                                          <p:cBhvr>
                                            <p:cTn id="96" dur="1" fill="hold">
                                              <p:stCondLst>
                                                <p:cond delay="0"/>
                                              </p:stCondLst>
                                            </p:cTn>
                                            <p:tgtEl>
                                              <p:spTgt spid="95"/>
                                            </p:tgtEl>
                                            <p:attrNameLst>
                                              <p:attrName>style.visibility</p:attrName>
                                            </p:attrNameLst>
                                          </p:cBhvr>
                                          <p:to>
                                            <p:strVal val="visible"/>
                                          </p:to>
                                        </p:set>
                                        <p:anim calcmode="lin" valueType="num" p14:bounceEnd="60000">
                                          <p:cBhvr additive="base">
                                            <p:cTn id="97" dur="300" fill="hold"/>
                                            <p:tgtEl>
                                              <p:spTgt spid="95"/>
                                            </p:tgtEl>
                                            <p:attrNameLst>
                                              <p:attrName>ppt_x</p:attrName>
                                            </p:attrNameLst>
                                          </p:cBhvr>
                                          <p:tavLst>
                                            <p:tav tm="0">
                                              <p:val>
                                                <p:strVal val="#ppt_x"/>
                                              </p:val>
                                            </p:tav>
                                            <p:tav tm="100000">
                                              <p:val>
                                                <p:strVal val="#ppt_x"/>
                                              </p:val>
                                            </p:tav>
                                          </p:tavLst>
                                        </p:anim>
                                        <p:anim calcmode="lin" valueType="num" p14:bounceEnd="60000">
                                          <p:cBhvr additive="base">
                                            <p:cTn id="98" dur="300" fill="hold"/>
                                            <p:tgtEl>
                                              <p:spTgt spid="95"/>
                                            </p:tgtEl>
                                            <p:attrNameLst>
                                              <p:attrName>ppt_y</p:attrName>
                                            </p:attrNameLst>
                                          </p:cBhvr>
                                          <p:tavLst>
                                            <p:tav tm="0">
                                              <p:val>
                                                <p:strVal val="0-#ppt_h/2"/>
                                              </p:val>
                                            </p:tav>
                                            <p:tav tm="100000">
                                              <p:val>
                                                <p:strVal val="#ppt_y"/>
                                              </p:val>
                                            </p:tav>
                                          </p:tavLst>
                                        </p:anim>
                                      </p:childTnLst>
                                    </p:cTn>
                                  </p:par>
                                  <p:par>
                                    <p:cTn id="99" presetID="42" presetClass="path" presetSubtype="0" repeatCount="indefinite" decel="19000" autoRev="1" fill="remove" nodeType="withEffect">
                                      <p:stCondLst>
                                        <p:cond delay="1700"/>
                                      </p:stCondLst>
                                      <p:childTnLst>
                                        <p:animMotion origin="layout" path="M -8.33333E-7 -4.38175E-6 L -8.33333E-7 0.01234 " pathEditMode="relative" rAng="0" ptsTypes="AA">
                                          <p:cBhvr>
                                            <p:cTn id="100" dur="1000" fill="hold"/>
                                            <p:tgtEl>
                                              <p:spTgt spid="95"/>
                                            </p:tgtEl>
                                            <p:attrNameLst>
                                              <p:attrName>ppt_x</p:attrName>
                                              <p:attrName>ppt_y</p:attrName>
                                            </p:attrNameLst>
                                          </p:cBhvr>
                                          <p:rCtr x="0" y="6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8" grpId="0" animBg="1"/>
          <p:bldP spid="98" grpId="1" animBg="1"/>
          <p:bldP spid="99" grpId="0" animBg="1"/>
          <p:bldP spid="99" grpId="1" animBg="1"/>
          <p:bldP spid="100" grpId="0" animBg="1"/>
          <p:bldP spid="100" grpId="1" animBg="1"/>
          <p:bldP spid="110" grpId="0"/>
          <p:bldP spid="111" grpId="0"/>
          <p:bldP spid="112" grpId="0"/>
          <p:bldP spid="113" grpId="0"/>
          <p:bldP spid="114" grpId="0"/>
          <p:bldP spid="1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down)">
                                          <p:cBhvr>
                                            <p:cTn id="7" dur="300"/>
                                            <p:tgtEl>
                                              <p:spTgt spid="89"/>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300"/>
                                            <p:tgtEl>
                                              <p:spTgt spid="110"/>
                                            </p:tgtEl>
                                          </p:cBhvr>
                                        </p:animEffect>
                                        <p:anim calcmode="lin" valueType="num">
                                          <p:cBhvr>
                                            <p:cTn id="12" dur="300" fill="hold"/>
                                            <p:tgtEl>
                                              <p:spTgt spid="110"/>
                                            </p:tgtEl>
                                            <p:attrNameLst>
                                              <p:attrName>ppt_x</p:attrName>
                                            </p:attrNameLst>
                                          </p:cBhvr>
                                          <p:tavLst>
                                            <p:tav tm="0">
                                              <p:val>
                                                <p:strVal val="#ppt_x"/>
                                              </p:val>
                                            </p:tav>
                                            <p:tav tm="100000">
                                              <p:val>
                                                <p:strVal val="#ppt_x"/>
                                              </p:val>
                                            </p:tav>
                                          </p:tavLst>
                                        </p:anim>
                                        <p:anim calcmode="lin" valueType="num">
                                          <p:cBhvr>
                                            <p:cTn id="13" dur="300" fill="hold"/>
                                            <p:tgtEl>
                                              <p:spTgt spid="110"/>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down)">
                                          <p:cBhvr>
                                            <p:cTn id="17" dur="300"/>
                                            <p:tgtEl>
                                              <p:spTgt spid="90"/>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111"/>
                                            </p:tgtEl>
                                            <p:attrNameLst>
                                              <p:attrName>style.visibility</p:attrName>
                                            </p:attrNameLst>
                                          </p:cBhvr>
                                          <p:to>
                                            <p:strVal val="visible"/>
                                          </p:to>
                                        </p:set>
                                        <p:animEffect transition="in" filter="fade">
                                          <p:cBhvr>
                                            <p:cTn id="21" dur="300"/>
                                            <p:tgtEl>
                                              <p:spTgt spid="111"/>
                                            </p:tgtEl>
                                          </p:cBhvr>
                                        </p:animEffect>
                                        <p:anim calcmode="lin" valueType="num">
                                          <p:cBhvr>
                                            <p:cTn id="22" dur="300" fill="hold"/>
                                            <p:tgtEl>
                                              <p:spTgt spid="111"/>
                                            </p:tgtEl>
                                            <p:attrNameLst>
                                              <p:attrName>ppt_x</p:attrName>
                                            </p:attrNameLst>
                                          </p:cBhvr>
                                          <p:tavLst>
                                            <p:tav tm="0">
                                              <p:val>
                                                <p:strVal val="#ppt_x"/>
                                              </p:val>
                                            </p:tav>
                                            <p:tav tm="100000">
                                              <p:val>
                                                <p:strVal val="#ppt_x"/>
                                              </p:val>
                                            </p:tav>
                                          </p:tavLst>
                                        </p:anim>
                                        <p:anim calcmode="lin" valueType="num">
                                          <p:cBhvr>
                                            <p:cTn id="23" dur="300" fill="hold"/>
                                            <p:tgtEl>
                                              <p:spTgt spid="111"/>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2" presetClass="entr" presetSubtype="4" fill="hold" grpId="0"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wipe(down)">
                                          <p:cBhvr>
                                            <p:cTn id="27" dur="300"/>
                                            <p:tgtEl>
                                              <p:spTgt spid="91"/>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300"/>
                                            <p:tgtEl>
                                              <p:spTgt spid="112"/>
                                            </p:tgtEl>
                                          </p:cBhvr>
                                        </p:animEffect>
                                        <p:anim calcmode="lin" valueType="num">
                                          <p:cBhvr>
                                            <p:cTn id="32" dur="300" fill="hold"/>
                                            <p:tgtEl>
                                              <p:spTgt spid="112"/>
                                            </p:tgtEl>
                                            <p:attrNameLst>
                                              <p:attrName>ppt_x</p:attrName>
                                            </p:attrNameLst>
                                          </p:cBhvr>
                                          <p:tavLst>
                                            <p:tav tm="0">
                                              <p:val>
                                                <p:strVal val="#ppt_x"/>
                                              </p:val>
                                            </p:tav>
                                            <p:tav tm="100000">
                                              <p:val>
                                                <p:strVal val="#ppt_x"/>
                                              </p:val>
                                            </p:tav>
                                          </p:tavLst>
                                        </p:anim>
                                        <p:anim calcmode="lin" valueType="num">
                                          <p:cBhvr>
                                            <p:cTn id="33" dur="300" fill="hold"/>
                                            <p:tgtEl>
                                              <p:spTgt spid="112"/>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4"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300"/>
                                            <p:tgtEl>
                                              <p:spTgt spid="92"/>
                                            </p:tgtEl>
                                          </p:cBhvr>
                                        </p:animEffect>
                                      </p:childTnLst>
                                    </p:cTn>
                                  </p:par>
                                </p:childTnLst>
                              </p:cTn>
                            </p:par>
                            <p:par>
                              <p:cTn id="38" fill="hold">
                                <p:stCondLst>
                                  <p:cond delay="3500"/>
                                </p:stCondLst>
                                <p:childTnLst>
                                  <p:par>
                                    <p:cTn id="39" presetID="42"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300"/>
                                            <p:tgtEl>
                                              <p:spTgt spid="113"/>
                                            </p:tgtEl>
                                          </p:cBhvr>
                                        </p:animEffect>
                                        <p:anim calcmode="lin" valueType="num">
                                          <p:cBhvr>
                                            <p:cTn id="42" dur="300" fill="hold"/>
                                            <p:tgtEl>
                                              <p:spTgt spid="113"/>
                                            </p:tgtEl>
                                            <p:attrNameLst>
                                              <p:attrName>ppt_x</p:attrName>
                                            </p:attrNameLst>
                                          </p:cBhvr>
                                          <p:tavLst>
                                            <p:tav tm="0">
                                              <p:val>
                                                <p:strVal val="#ppt_x"/>
                                              </p:val>
                                            </p:tav>
                                            <p:tav tm="100000">
                                              <p:val>
                                                <p:strVal val="#ppt_x"/>
                                              </p:val>
                                            </p:tav>
                                          </p:tavLst>
                                        </p:anim>
                                        <p:anim calcmode="lin" valueType="num">
                                          <p:cBhvr>
                                            <p:cTn id="43" dur="300" fill="hold"/>
                                            <p:tgtEl>
                                              <p:spTgt spid="113"/>
                                            </p:tgtEl>
                                            <p:attrNameLst>
                                              <p:attrName>ppt_y</p:attrName>
                                            </p:attrNameLst>
                                          </p:cBhvr>
                                          <p:tavLst>
                                            <p:tav tm="0">
                                              <p:val>
                                                <p:strVal val="#ppt_y+.1"/>
                                              </p:val>
                                            </p:tav>
                                            <p:tav tm="100000">
                                              <p:val>
                                                <p:strVal val="#ppt_y"/>
                                              </p:val>
                                            </p:tav>
                                          </p:tavLst>
                                        </p:anim>
                                      </p:childTnLst>
                                    </p:cTn>
                                  </p:par>
                                </p:childTnLst>
                              </p:cTn>
                            </p:par>
                            <p:par>
                              <p:cTn id="44" fill="hold">
                                <p:stCondLst>
                                  <p:cond delay="4000"/>
                                </p:stCondLst>
                                <p:childTnLst>
                                  <p:par>
                                    <p:cTn id="45" presetID="22" presetClass="entr" presetSubtype="4" fill="hold" grpId="0"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300"/>
                                            <p:tgtEl>
                                              <p:spTgt spid="93"/>
                                            </p:tgtEl>
                                          </p:cBhvr>
                                        </p:animEffect>
                                      </p:childTnLst>
                                    </p:cTn>
                                  </p:par>
                                </p:childTnLst>
                              </p:cTn>
                            </p:par>
                            <p:par>
                              <p:cTn id="48" fill="hold">
                                <p:stCondLst>
                                  <p:cond delay="4500"/>
                                </p:stCondLst>
                                <p:childTnLst>
                                  <p:par>
                                    <p:cTn id="49" presetID="42" presetClass="entr" presetSubtype="0" fill="hold" grpId="0"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anim calcmode="lin" valueType="num">
                                          <p:cBhvr>
                                            <p:cTn id="52" dur="300" fill="hold"/>
                                            <p:tgtEl>
                                              <p:spTgt spid="114"/>
                                            </p:tgtEl>
                                            <p:attrNameLst>
                                              <p:attrName>ppt_x</p:attrName>
                                            </p:attrNameLst>
                                          </p:cBhvr>
                                          <p:tavLst>
                                            <p:tav tm="0">
                                              <p:val>
                                                <p:strVal val="#ppt_x"/>
                                              </p:val>
                                            </p:tav>
                                            <p:tav tm="100000">
                                              <p:val>
                                                <p:strVal val="#ppt_x"/>
                                              </p:val>
                                            </p:tav>
                                          </p:tavLst>
                                        </p:anim>
                                        <p:anim calcmode="lin" valueType="num">
                                          <p:cBhvr>
                                            <p:cTn id="53" dur="300" fill="hold"/>
                                            <p:tgtEl>
                                              <p:spTgt spid="114"/>
                                            </p:tgtEl>
                                            <p:attrNameLst>
                                              <p:attrName>ppt_y</p:attrName>
                                            </p:attrNameLst>
                                          </p:cBhvr>
                                          <p:tavLst>
                                            <p:tav tm="0">
                                              <p:val>
                                                <p:strVal val="#ppt_y+.1"/>
                                              </p:val>
                                            </p:tav>
                                            <p:tav tm="100000">
                                              <p:val>
                                                <p:strVal val="#ppt_y"/>
                                              </p:val>
                                            </p:tav>
                                          </p:tavLst>
                                        </p:anim>
                                      </p:childTnLst>
                                    </p:cTn>
                                  </p:par>
                                </p:childTnLst>
                              </p:cTn>
                            </p:par>
                            <p:par>
                              <p:cTn id="54" fill="hold">
                                <p:stCondLst>
                                  <p:cond delay="5000"/>
                                </p:stCondLst>
                                <p:childTnLst>
                                  <p:par>
                                    <p:cTn id="55" presetID="22" presetClass="entr" presetSubtype="4" fill="hold" grpId="0" nodeType="after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300"/>
                                            <p:tgtEl>
                                              <p:spTgt spid="94"/>
                                            </p:tgtEl>
                                          </p:cBhvr>
                                        </p:animEffect>
                                      </p:childTnLst>
                                    </p:cTn>
                                  </p:par>
                                </p:childTnLst>
                              </p:cTn>
                            </p:par>
                            <p:par>
                              <p:cTn id="58" fill="hold">
                                <p:stCondLst>
                                  <p:cond delay="5500"/>
                                </p:stCondLst>
                                <p:childTnLst>
                                  <p:par>
                                    <p:cTn id="59" presetID="42" presetClass="entr" presetSubtype="0"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300"/>
                                            <p:tgtEl>
                                              <p:spTgt spid="115"/>
                                            </p:tgtEl>
                                          </p:cBhvr>
                                        </p:animEffect>
                                        <p:anim calcmode="lin" valueType="num">
                                          <p:cBhvr>
                                            <p:cTn id="62" dur="300" fill="hold"/>
                                            <p:tgtEl>
                                              <p:spTgt spid="115"/>
                                            </p:tgtEl>
                                            <p:attrNameLst>
                                              <p:attrName>ppt_x</p:attrName>
                                            </p:attrNameLst>
                                          </p:cBhvr>
                                          <p:tavLst>
                                            <p:tav tm="0">
                                              <p:val>
                                                <p:strVal val="#ppt_x"/>
                                              </p:val>
                                            </p:tav>
                                            <p:tav tm="100000">
                                              <p:val>
                                                <p:strVal val="#ppt_x"/>
                                              </p:val>
                                            </p:tav>
                                          </p:tavLst>
                                        </p:anim>
                                        <p:anim calcmode="lin" valueType="num">
                                          <p:cBhvr>
                                            <p:cTn id="63" dur="300" fill="hold"/>
                                            <p:tgtEl>
                                              <p:spTgt spid="115"/>
                                            </p:tgtEl>
                                            <p:attrNameLst>
                                              <p:attrName>ppt_y</p:attrName>
                                            </p:attrNameLst>
                                          </p:cBhvr>
                                          <p:tavLst>
                                            <p:tav tm="0">
                                              <p:val>
                                                <p:strVal val="#ppt_y+.1"/>
                                              </p:val>
                                            </p:tav>
                                            <p:tav tm="100000">
                                              <p:val>
                                                <p:strVal val="#ppt_y"/>
                                              </p:val>
                                            </p:tav>
                                          </p:tavLst>
                                        </p:anim>
                                      </p:childTnLst>
                                    </p:cTn>
                                  </p:par>
                                </p:childTnLst>
                              </p:cTn>
                            </p:par>
                            <p:par>
                              <p:cTn id="64" fill="hold">
                                <p:stCondLst>
                                  <p:cond delay="6000"/>
                                </p:stCondLst>
                                <p:childTnLst>
                                  <p:par>
                                    <p:cTn id="65" presetID="2" presetClass="entr" presetSubtype="1" fill="hold" nodeType="afterEffect">
                                      <p:stCondLst>
                                        <p:cond delay="0"/>
                                      </p:stCondLst>
                                      <p:childTnLst>
                                        <p:set>
                                          <p:cBhvr>
                                            <p:cTn id="66" dur="1" fill="hold">
                                              <p:stCondLst>
                                                <p:cond delay="0"/>
                                              </p:stCondLst>
                                            </p:cTn>
                                            <p:tgtEl>
                                              <p:spTgt spid="105"/>
                                            </p:tgtEl>
                                            <p:attrNameLst>
                                              <p:attrName>style.visibility</p:attrName>
                                            </p:attrNameLst>
                                          </p:cBhvr>
                                          <p:to>
                                            <p:strVal val="visible"/>
                                          </p:to>
                                        </p:set>
                                        <p:anim calcmode="lin" valueType="num">
                                          <p:cBhvr additive="base">
                                            <p:cTn id="67" dur="300" fill="hold"/>
                                            <p:tgtEl>
                                              <p:spTgt spid="105"/>
                                            </p:tgtEl>
                                            <p:attrNameLst>
                                              <p:attrName>ppt_x</p:attrName>
                                            </p:attrNameLst>
                                          </p:cBhvr>
                                          <p:tavLst>
                                            <p:tav tm="0">
                                              <p:val>
                                                <p:strVal val="#ppt_x"/>
                                              </p:val>
                                            </p:tav>
                                            <p:tav tm="100000">
                                              <p:val>
                                                <p:strVal val="#ppt_x"/>
                                              </p:val>
                                            </p:tav>
                                          </p:tavLst>
                                        </p:anim>
                                        <p:anim calcmode="lin" valueType="num">
                                          <p:cBhvr additive="base">
                                            <p:cTn id="68" dur="300" fill="hold"/>
                                            <p:tgtEl>
                                              <p:spTgt spid="105"/>
                                            </p:tgtEl>
                                            <p:attrNameLst>
                                              <p:attrName>ppt_y</p:attrName>
                                            </p:attrNameLst>
                                          </p:cBhvr>
                                          <p:tavLst>
                                            <p:tav tm="0">
                                              <p:val>
                                                <p:strVal val="0-#ppt_h/2"/>
                                              </p:val>
                                            </p:tav>
                                            <p:tav tm="100000">
                                              <p:val>
                                                <p:strVal val="#ppt_y"/>
                                              </p:val>
                                            </p:tav>
                                          </p:tavLst>
                                        </p:anim>
                                      </p:childTnLst>
                                    </p:cTn>
                                  </p:par>
                                  <p:par>
                                    <p:cTn id="69" presetID="42" presetClass="path" presetSubtype="0" repeatCount="indefinite" decel="19000" autoRev="1" fill="remove" nodeType="withEffect">
                                      <p:stCondLst>
                                        <p:cond delay="300"/>
                                      </p:stCondLst>
                                      <p:childTnLst>
                                        <p:animMotion origin="layout" path="M -8.33333E-7 -4.38175E-6 L -8.33333E-7 0.01234 " pathEditMode="relative" rAng="0" ptsTypes="AA">
                                          <p:cBhvr>
                                            <p:cTn id="70" dur="1000" fill="hold"/>
                                            <p:tgtEl>
                                              <p:spTgt spid="105"/>
                                            </p:tgtEl>
                                            <p:attrNameLst>
                                              <p:attrName>ppt_x</p:attrName>
                                              <p:attrName>ppt_y</p:attrName>
                                            </p:attrNameLst>
                                          </p:cBhvr>
                                          <p:rCtr x="0" y="617"/>
                                        </p:animMotion>
                                      </p:childTnLst>
                                    </p:cTn>
                                  </p:par>
                                  <p:par>
                                    <p:cTn id="71" presetID="2" presetClass="entr" presetSubtype="1" fill="hold" nodeType="withEffect">
                                      <p:stCondLst>
                                        <p:cond delay="300"/>
                                      </p:stCondLst>
                                      <p:childTnLst>
                                        <p:set>
                                          <p:cBhvr>
                                            <p:cTn id="72" dur="1" fill="hold">
                                              <p:stCondLst>
                                                <p:cond delay="0"/>
                                              </p:stCondLst>
                                            </p:cTn>
                                            <p:tgtEl>
                                              <p:spTgt spid="101"/>
                                            </p:tgtEl>
                                            <p:attrNameLst>
                                              <p:attrName>style.visibility</p:attrName>
                                            </p:attrNameLst>
                                          </p:cBhvr>
                                          <p:to>
                                            <p:strVal val="visible"/>
                                          </p:to>
                                        </p:set>
                                        <p:anim calcmode="lin" valueType="num">
                                          <p:cBhvr additive="base">
                                            <p:cTn id="73" dur="300" fill="hold"/>
                                            <p:tgtEl>
                                              <p:spTgt spid="101"/>
                                            </p:tgtEl>
                                            <p:attrNameLst>
                                              <p:attrName>ppt_x</p:attrName>
                                            </p:attrNameLst>
                                          </p:cBhvr>
                                          <p:tavLst>
                                            <p:tav tm="0">
                                              <p:val>
                                                <p:strVal val="#ppt_x"/>
                                              </p:val>
                                            </p:tav>
                                            <p:tav tm="100000">
                                              <p:val>
                                                <p:strVal val="#ppt_x"/>
                                              </p:val>
                                            </p:tav>
                                          </p:tavLst>
                                        </p:anim>
                                        <p:anim calcmode="lin" valueType="num">
                                          <p:cBhvr additive="base">
                                            <p:cTn id="74" dur="300" fill="hold"/>
                                            <p:tgtEl>
                                              <p:spTgt spid="101"/>
                                            </p:tgtEl>
                                            <p:attrNameLst>
                                              <p:attrName>ppt_y</p:attrName>
                                            </p:attrNameLst>
                                          </p:cBhvr>
                                          <p:tavLst>
                                            <p:tav tm="0">
                                              <p:val>
                                                <p:strVal val="0-#ppt_h/2"/>
                                              </p:val>
                                            </p:tav>
                                            <p:tav tm="100000">
                                              <p:val>
                                                <p:strVal val="#ppt_y"/>
                                              </p:val>
                                            </p:tav>
                                          </p:tavLst>
                                        </p:anim>
                                      </p:childTnLst>
                                    </p:cTn>
                                  </p:par>
                                  <p:par>
                                    <p:cTn id="75" presetID="42" presetClass="path" presetSubtype="0" repeatCount="indefinite" decel="19000" autoRev="1" fill="remove" nodeType="withEffect">
                                      <p:stCondLst>
                                        <p:cond delay="600"/>
                                      </p:stCondLst>
                                      <p:childTnLst>
                                        <p:animMotion origin="layout" path="M -8.33333E-7 -4.38175E-6 L -8.33333E-7 0.01234 " pathEditMode="relative" rAng="0" ptsTypes="AA">
                                          <p:cBhvr>
                                            <p:cTn id="76" dur="1000" fill="hold"/>
                                            <p:tgtEl>
                                              <p:spTgt spid="101"/>
                                            </p:tgtEl>
                                            <p:attrNameLst>
                                              <p:attrName>ppt_x</p:attrName>
                                              <p:attrName>ppt_y</p:attrName>
                                            </p:attrNameLst>
                                          </p:cBhvr>
                                          <p:rCtr x="0" y="617"/>
                                        </p:animMotion>
                                      </p:childTnLst>
                                    </p:cTn>
                                  </p:par>
                                  <p:par>
                                    <p:cTn id="77" presetID="2" presetClass="entr" presetSubtype="1" fill="hold" grpId="0" nodeType="withEffect">
                                      <p:stCondLst>
                                        <p:cond delay="600"/>
                                      </p:stCondLst>
                                      <p:childTnLst>
                                        <p:set>
                                          <p:cBhvr>
                                            <p:cTn id="78" dur="1" fill="hold">
                                              <p:stCondLst>
                                                <p:cond delay="0"/>
                                              </p:stCondLst>
                                            </p:cTn>
                                            <p:tgtEl>
                                              <p:spTgt spid="100"/>
                                            </p:tgtEl>
                                            <p:attrNameLst>
                                              <p:attrName>style.visibility</p:attrName>
                                            </p:attrNameLst>
                                          </p:cBhvr>
                                          <p:to>
                                            <p:strVal val="visible"/>
                                          </p:to>
                                        </p:set>
                                        <p:anim calcmode="lin" valueType="num">
                                          <p:cBhvr additive="base">
                                            <p:cTn id="79" dur="300" fill="hold"/>
                                            <p:tgtEl>
                                              <p:spTgt spid="100"/>
                                            </p:tgtEl>
                                            <p:attrNameLst>
                                              <p:attrName>ppt_x</p:attrName>
                                            </p:attrNameLst>
                                          </p:cBhvr>
                                          <p:tavLst>
                                            <p:tav tm="0">
                                              <p:val>
                                                <p:strVal val="#ppt_x"/>
                                              </p:val>
                                            </p:tav>
                                            <p:tav tm="100000">
                                              <p:val>
                                                <p:strVal val="#ppt_x"/>
                                              </p:val>
                                            </p:tav>
                                          </p:tavLst>
                                        </p:anim>
                                        <p:anim calcmode="lin" valueType="num">
                                          <p:cBhvr additive="base">
                                            <p:cTn id="80" dur="300" fill="hold"/>
                                            <p:tgtEl>
                                              <p:spTgt spid="100"/>
                                            </p:tgtEl>
                                            <p:attrNameLst>
                                              <p:attrName>ppt_y</p:attrName>
                                            </p:attrNameLst>
                                          </p:cBhvr>
                                          <p:tavLst>
                                            <p:tav tm="0">
                                              <p:val>
                                                <p:strVal val="0-#ppt_h/2"/>
                                              </p:val>
                                            </p:tav>
                                            <p:tav tm="100000">
                                              <p:val>
                                                <p:strVal val="#ppt_y"/>
                                              </p:val>
                                            </p:tav>
                                          </p:tavLst>
                                        </p:anim>
                                      </p:childTnLst>
                                    </p:cTn>
                                  </p:par>
                                  <p:par>
                                    <p:cTn id="81" presetID="42" presetClass="path" presetSubtype="0" repeatCount="indefinite" decel="19000" autoRev="1" fill="remove" grpId="1" nodeType="withEffect">
                                      <p:stCondLst>
                                        <p:cond delay="900"/>
                                      </p:stCondLst>
                                      <p:childTnLst>
                                        <p:animMotion origin="layout" path="M -8.33333E-7 -4.38175E-6 L -8.33333E-7 0.01234 " pathEditMode="relative" rAng="0" ptsTypes="AA">
                                          <p:cBhvr>
                                            <p:cTn id="82" dur="1000" fill="hold"/>
                                            <p:tgtEl>
                                              <p:spTgt spid="100"/>
                                            </p:tgtEl>
                                            <p:attrNameLst>
                                              <p:attrName>ppt_x</p:attrName>
                                              <p:attrName>ppt_y</p:attrName>
                                            </p:attrNameLst>
                                          </p:cBhvr>
                                          <p:rCtr x="0" y="617"/>
                                        </p:animMotion>
                                      </p:childTnLst>
                                    </p:cTn>
                                  </p:par>
                                  <p:par>
                                    <p:cTn id="83" presetID="2" presetClass="entr" presetSubtype="1" fill="hold" grpId="0" nodeType="withEffect">
                                      <p:stCondLst>
                                        <p:cond delay="900"/>
                                      </p:stCondLst>
                                      <p:childTnLst>
                                        <p:set>
                                          <p:cBhvr>
                                            <p:cTn id="84" dur="1" fill="hold">
                                              <p:stCondLst>
                                                <p:cond delay="0"/>
                                              </p:stCondLst>
                                            </p:cTn>
                                            <p:tgtEl>
                                              <p:spTgt spid="99"/>
                                            </p:tgtEl>
                                            <p:attrNameLst>
                                              <p:attrName>style.visibility</p:attrName>
                                            </p:attrNameLst>
                                          </p:cBhvr>
                                          <p:to>
                                            <p:strVal val="visible"/>
                                          </p:to>
                                        </p:set>
                                        <p:anim calcmode="lin" valueType="num">
                                          <p:cBhvr additive="base">
                                            <p:cTn id="85" dur="300" fill="hold"/>
                                            <p:tgtEl>
                                              <p:spTgt spid="99"/>
                                            </p:tgtEl>
                                            <p:attrNameLst>
                                              <p:attrName>ppt_x</p:attrName>
                                            </p:attrNameLst>
                                          </p:cBhvr>
                                          <p:tavLst>
                                            <p:tav tm="0">
                                              <p:val>
                                                <p:strVal val="#ppt_x"/>
                                              </p:val>
                                            </p:tav>
                                            <p:tav tm="100000">
                                              <p:val>
                                                <p:strVal val="#ppt_x"/>
                                              </p:val>
                                            </p:tav>
                                          </p:tavLst>
                                        </p:anim>
                                        <p:anim calcmode="lin" valueType="num">
                                          <p:cBhvr additive="base">
                                            <p:cTn id="86" dur="300" fill="hold"/>
                                            <p:tgtEl>
                                              <p:spTgt spid="99"/>
                                            </p:tgtEl>
                                            <p:attrNameLst>
                                              <p:attrName>ppt_y</p:attrName>
                                            </p:attrNameLst>
                                          </p:cBhvr>
                                          <p:tavLst>
                                            <p:tav tm="0">
                                              <p:val>
                                                <p:strVal val="0-#ppt_h/2"/>
                                              </p:val>
                                            </p:tav>
                                            <p:tav tm="100000">
                                              <p:val>
                                                <p:strVal val="#ppt_y"/>
                                              </p:val>
                                            </p:tav>
                                          </p:tavLst>
                                        </p:anim>
                                      </p:childTnLst>
                                    </p:cTn>
                                  </p:par>
                                  <p:par>
                                    <p:cTn id="87" presetID="42" presetClass="path" presetSubtype="0" repeatCount="indefinite" decel="19000" autoRev="1" fill="remove" grpId="1" nodeType="withEffect">
                                      <p:stCondLst>
                                        <p:cond delay="1200"/>
                                      </p:stCondLst>
                                      <p:childTnLst>
                                        <p:animMotion origin="layout" path="M -8.33333E-7 -4.38175E-6 L -8.33333E-7 0.01234 " pathEditMode="relative" rAng="0" ptsTypes="AA">
                                          <p:cBhvr>
                                            <p:cTn id="88" dur="1000" fill="hold"/>
                                            <p:tgtEl>
                                              <p:spTgt spid="99"/>
                                            </p:tgtEl>
                                            <p:attrNameLst>
                                              <p:attrName>ppt_x</p:attrName>
                                              <p:attrName>ppt_y</p:attrName>
                                            </p:attrNameLst>
                                          </p:cBhvr>
                                          <p:rCtr x="0" y="617"/>
                                        </p:animMotion>
                                      </p:childTnLst>
                                    </p:cTn>
                                  </p:par>
                                  <p:par>
                                    <p:cTn id="89" presetID="2" presetClass="entr" presetSubtype="1" fill="hold" grpId="0" nodeType="withEffect">
                                      <p:stCondLst>
                                        <p:cond delay="1200"/>
                                      </p:stCondLst>
                                      <p:childTnLst>
                                        <p:set>
                                          <p:cBhvr>
                                            <p:cTn id="90" dur="1" fill="hold">
                                              <p:stCondLst>
                                                <p:cond delay="0"/>
                                              </p:stCondLst>
                                            </p:cTn>
                                            <p:tgtEl>
                                              <p:spTgt spid="98"/>
                                            </p:tgtEl>
                                            <p:attrNameLst>
                                              <p:attrName>style.visibility</p:attrName>
                                            </p:attrNameLst>
                                          </p:cBhvr>
                                          <p:to>
                                            <p:strVal val="visible"/>
                                          </p:to>
                                        </p:set>
                                        <p:anim calcmode="lin" valueType="num">
                                          <p:cBhvr additive="base">
                                            <p:cTn id="91" dur="300" fill="hold"/>
                                            <p:tgtEl>
                                              <p:spTgt spid="98"/>
                                            </p:tgtEl>
                                            <p:attrNameLst>
                                              <p:attrName>ppt_x</p:attrName>
                                            </p:attrNameLst>
                                          </p:cBhvr>
                                          <p:tavLst>
                                            <p:tav tm="0">
                                              <p:val>
                                                <p:strVal val="#ppt_x"/>
                                              </p:val>
                                            </p:tav>
                                            <p:tav tm="100000">
                                              <p:val>
                                                <p:strVal val="#ppt_x"/>
                                              </p:val>
                                            </p:tav>
                                          </p:tavLst>
                                        </p:anim>
                                        <p:anim calcmode="lin" valueType="num">
                                          <p:cBhvr additive="base">
                                            <p:cTn id="92" dur="300" fill="hold"/>
                                            <p:tgtEl>
                                              <p:spTgt spid="98"/>
                                            </p:tgtEl>
                                            <p:attrNameLst>
                                              <p:attrName>ppt_y</p:attrName>
                                            </p:attrNameLst>
                                          </p:cBhvr>
                                          <p:tavLst>
                                            <p:tav tm="0">
                                              <p:val>
                                                <p:strVal val="0-#ppt_h/2"/>
                                              </p:val>
                                            </p:tav>
                                            <p:tav tm="100000">
                                              <p:val>
                                                <p:strVal val="#ppt_y"/>
                                              </p:val>
                                            </p:tav>
                                          </p:tavLst>
                                        </p:anim>
                                      </p:childTnLst>
                                    </p:cTn>
                                  </p:par>
                                  <p:par>
                                    <p:cTn id="93" presetID="42" presetClass="path" presetSubtype="0" repeatCount="indefinite" decel="19000" autoRev="1" fill="remove" grpId="1" nodeType="withEffect">
                                      <p:stCondLst>
                                        <p:cond delay="1500"/>
                                      </p:stCondLst>
                                      <p:childTnLst>
                                        <p:animMotion origin="layout" path="M -8.33333E-7 -4.38175E-6 L -8.33333E-7 0.01234 " pathEditMode="relative" rAng="0" ptsTypes="AA">
                                          <p:cBhvr>
                                            <p:cTn id="94" dur="1000" fill="hold"/>
                                            <p:tgtEl>
                                              <p:spTgt spid="98"/>
                                            </p:tgtEl>
                                            <p:attrNameLst>
                                              <p:attrName>ppt_x</p:attrName>
                                              <p:attrName>ppt_y</p:attrName>
                                            </p:attrNameLst>
                                          </p:cBhvr>
                                          <p:rCtr x="0" y="617"/>
                                        </p:animMotion>
                                      </p:childTnLst>
                                    </p:cTn>
                                  </p:par>
                                  <p:par>
                                    <p:cTn id="95" presetID="2" presetClass="entr" presetSubtype="1" fill="hold" nodeType="withEffect">
                                      <p:stCondLst>
                                        <p:cond delay="1500"/>
                                      </p:stCondLst>
                                      <p:childTnLst>
                                        <p:set>
                                          <p:cBhvr>
                                            <p:cTn id="96" dur="1" fill="hold">
                                              <p:stCondLst>
                                                <p:cond delay="0"/>
                                              </p:stCondLst>
                                            </p:cTn>
                                            <p:tgtEl>
                                              <p:spTgt spid="95"/>
                                            </p:tgtEl>
                                            <p:attrNameLst>
                                              <p:attrName>style.visibility</p:attrName>
                                            </p:attrNameLst>
                                          </p:cBhvr>
                                          <p:to>
                                            <p:strVal val="visible"/>
                                          </p:to>
                                        </p:set>
                                        <p:anim calcmode="lin" valueType="num">
                                          <p:cBhvr additive="base">
                                            <p:cTn id="97" dur="300" fill="hold"/>
                                            <p:tgtEl>
                                              <p:spTgt spid="95"/>
                                            </p:tgtEl>
                                            <p:attrNameLst>
                                              <p:attrName>ppt_x</p:attrName>
                                            </p:attrNameLst>
                                          </p:cBhvr>
                                          <p:tavLst>
                                            <p:tav tm="0">
                                              <p:val>
                                                <p:strVal val="#ppt_x"/>
                                              </p:val>
                                            </p:tav>
                                            <p:tav tm="100000">
                                              <p:val>
                                                <p:strVal val="#ppt_x"/>
                                              </p:val>
                                            </p:tav>
                                          </p:tavLst>
                                        </p:anim>
                                        <p:anim calcmode="lin" valueType="num">
                                          <p:cBhvr additive="base">
                                            <p:cTn id="98" dur="300" fill="hold"/>
                                            <p:tgtEl>
                                              <p:spTgt spid="95"/>
                                            </p:tgtEl>
                                            <p:attrNameLst>
                                              <p:attrName>ppt_y</p:attrName>
                                            </p:attrNameLst>
                                          </p:cBhvr>
                                          <p:tavLst>
                                            <p:tav tm="0">
                                              <p:val>
                                                <p:strVal val="0-#ppt_h/2"/>
                                              </p:val>
                                            </p:tav>
                                            <p:tav tm="100000">
                                              <p:val>
                                                <p:strVal val="#ppt_y"/>
                                              </p:val>
                                            </p:tav>
                                          </p:tavLst>
                                        </p:anim>
                                      </p:childTnLst>
                                    </p:cTn>
                                  </p:par>
                                  <p:par>
                                    <p:cTn id="99" presetID="42" presetClass="path" presetSubtype="0" repeatCount="indefinite" decel="19000" autoRev="1" fill="remove" nodeType="withEffect">
                                      <p:stCondLst>
                                        <p:cond delay="1700"/>
                                      </p:stCondLst>
                                      <p:childTnLst>
                                        <p:animMotion origin="layout" path="M -8.33333E-7 -4.38175E-6 L -8.33333E-7 0.01234 " pathEditMode="relative" rAng="0" ptsTypes="AA">
                                          <p:cBhvr>
                                            <p:cTn id="100" dur="1000" fill="hold"/>
                                            <p:tgtEl>
                                              <p:spTgt spid="95"/>
                                            </p:tgtEl>
                                            <p:attrNameLst>
                                              <p:attrName>ppt_x</p:attrName>
                                              <p:attrName>ppt_y</p:attrName>
                                            </p:attrNameLst>
                                          </p:cBhvr>
                                          <p:rCtr x="0" y="6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8" grpId="0" animBg="1"/>
          <p:bldP spid="98" grpId="1" animBg="1"/>
          <p:bldP spid="99" grpId="0" animBg="1"/>
          <p:bldP spid="99" grpId="1" animBg="1"/>
          <p:bldP spid="100" grpId="0" animBg="1"/>
          <p:bldP spid="100" grpId="1" animBg="1"/>
          <p:bldP spid="110" grpId="0"/>
          <p:bldP spid="111" grpId="0"/>
          <p:bldP spid="112" grpId="0"/>
          <p:bldP spid="113" grpId="0"/>
          <p:bldP spid="114" grpId="0"/>
          <p:bldP spid="115"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淘宝网chenying0907出品 6"/>
          <p:cNvSpPr/>
          <p:nvPr/>
        </p:nvSpPr>
        <p:spPr bwMode="auto">
          <a:xfrm>
            <a:off x="971600" y="1779662"/>
            <a:ext cx="1971675" cy="2001838"/>
          </a:xfrm>
          <a:custGeom>
            <a:avLst/>
            <a:gdLst>
              <a:gd name="T0" fmla="*/ 147 w 219"/>
              <a:gd name="T1" fmla="*/ 0 h 222"/>
              <a:gd name="T2" fmla="*/ 75 w 219"/>
              <a:gd name="T3" fmla="*/ 0 h 222"/>
              <a:gd name="T4" fmla="*/ 72 w 219"/>
              <a:gd name="T5" fmla="*/ 0 h 222"/>
              <a:gd name="T6" fmla="*/ 0 w 219"/>
              <a:gd name="T7" fmla="*/ 72 h 222"/>
              <a:gd name="T8" fmla="*/ 0 w 219"/>
              <a:gd name="T9" fmla="*/ 119 h 222"/>
              <a:gd name="T10" fmla="*/ 0 w 219"/>
              <a:gd name="T11" fmla="*/ 150 h 222"/>
              <a:gd name="T12" fmla="*/ 0 w 219"/>
              <a:gd name="T13" fmla="*/ 222 h 222"/>
              <a:gd name="T14" fmla="*/ 72 w 219"/>
              <a:gd name="T15" fmla="*/ 222 h 222"/>
              <a:gd name="T16" fmla="*/ 144 w 219"/>
              <a:gd name="T17" fmla="*/ 222 h 222"/>
              <a:gd name="T18" fmla="*/ 147 w 219"/>
              <a:gd name="T19" fmla="*/ 222 h 222"/>
              <a:gd name="T20" fmla="*/ 219 w 219"/>
              <a:gd name="T21" fmla="*/ 150 h 222"/>
              <a:gd name="T22" fmla="*/ 219 w 219"/>
              <a:gd name="T23" fmla="*/ 103 h 222"/>
              <a:gd name="T24" fmla="*/ 219 w 219"/>
              <a:gd name="T25" fmla="*/ 72 h 222"/>
              <a:gd name="T26" fmla="*/ 219 w 219"/>
              <a:gd name="T27" fmla="*/ 0 h 222"/>
              <a:gd name="T28" fmla="*/ 147 w 219"/>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2">
                <a:moveTo>
                  <a:pt x="147" y="0"/>
                </a:moveTo>
                <a:cubicBezTo>
                  <a:pt x="75" y="0"/>
                  <a:pt x="75" y="0"/>
                  <a:pt x="75" y="0"/>
                </a:cubicBezTo>
                <a:cubicBezTo>
                  <a:pt x="72" y="0"/>
                  <a:pt x="72" y="0"/>
                  <a:pt x="72" y="0"/>
                </a:cubicBezTo>
                <a:cubicBezTo>
                  <a:pt x="32"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4" y="222"/>
                  <a:pt x="144" y="222"/>
                  <a:pt x="144" y="222"/>
                </a:cubicBezTo>
                <a:cubicBezTo>
                  <a:pt x="147" y="222"/>
                  <a:pt x="147" y="222"/>
                  <a:pt x="147" y="222"/>
                </a:cubicBezTo>
                <a:cubicBezTo>
                  <a:pt x="187" y="222"/>
                  <a:pt x="219" y="190"/>
                  <a:pt x="219" y="150"/>
                </a:cubicBezTo>
                <a:cubicBezTo>
                  <a:pt x="219" y="103"/>
                  <a:pt x="219" y="103"/>
                  <a:pt x="219" y="103"/>
                </a:cubicBezTo>
                <a:cubicBezTo>
                  <a:pt x="219" y="72"/>
                  <a:pt x="219" y="72"/>
                  <a:pt x="219" y="72"/>
                </a:cubicBezTo>
                <a:cubicBezTo>
                  <a:pt x="219" y="0"/>
                  <a:pt x="219" y="0"/>
                  <a:pt x="219" y="0"/>
                </a:cubicBezTo>
                <a:lnTo>
                  <a:pt x="147" y="0"/>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45" name="淘宝网chenying0907出品 7"/>
          <p:cNvSpPr/>
          <p:nvPr/>
        </p:nvSpPr>
        <p:spPr bwMode="auto">
          <a:xfrm>
            <a:off x="3510533" y="1779662"/>
            <a:ext cx="1981200" cy="2001838"/>
          </a:xfrm>
          <a:custGeom>
            <a:avLst/>
            <a:gdLst>
              <a:gd name="T0" fmla="*/ 148 w 220"/>
              <a:gd name="T1" fmla="*/ 0 h 222"/>
              <a:gd name="T2" fmla="*/ 75 w 220"/>
              <a:gd name="T3" fmla="*/ 0 h 222"/>
              <a:gd name="T4" fmla="*/ 72 w 220"/>
              <a:gd name="T5" fmla="*/ 0 h 222"/>
              <a:gd name="T6" fmla="*/ 0 w 220"/>
              <a:gd name="T7" fmla="*/ 72 h 222"/>
              <a:gd name="T8" fmla="*/ 0 w 220"/>
              <a:gd name="T9" fmla="*/ 119 h 222"/>
              <a:gd name="T10" fmla="*/ 0 w 220"/>
              <a:gd name="T11" fmla="*/ 150 h 222"/>
              <a:gd name="T12" fmla="*/ 0 w 220"/>
              <a:gd name="T13" fmla="*/ 222 h 222"/>
              <a:gd name="T14" fmla="*/ 72 w 220"/>
              <a:gd name="T15" fmla="*/ 222 h 222"/>
              <a:gd name="T16" fmla="*/ 145 w 220"/>
              <a:gd name="T17" fmla="*/ 222 h 222"/>
              <a:gd name="T18" fmla="*/ 148 w 220"/>
              <a:gd name="T19" fmla="*/ 222 h 222"/>
              <a:gd name="T20" fmla="*/ 220 w 220"/>
              <a:gd name="T21" fmla="*/ 150 h 222"/>
              <a:gd name="T22" fmla="*/ 220 w 220"/>
              <a:gd name="T23" fmla="*/ 103 h 222"/>
              <a:gd name="T24" fmla="*/ 220 w 220"/>
              <a:gd name="T25" fmla="*/ 72 h 222"/>
              <a:gd name="T26" fmla="*/ 220 w 220"/>
              <a:gd name="T27" fmla="*/ 0 h 222"/>
              <a:gd name="T28" fmla="*/ 148 w 220"/>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222">
                <a:moveTo>
                  <a:pt x="148" y="0"/>
                </a:moveTo>
                <a:cubicBezTo>
                  <a:pt x="75" y="0"/>
                  <a:pt x="75" y="0"/>
                  <a:pt x="75" y="0"/>
                </a:cubicBezTo>
                <a:cubicBezTo>
                  <a:pt x="72" y="0"/>
                  <a:pt x="72" y="0"/>
                  <a:pt x="72" y="0"/>
                </a:cubicBezTo>
                <a:cubicBezTo>
                  <a:pt x="33"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5" y="222"/>
                  <a:pt x="145" y="222"/>
                  <a:pt x="145" y="222"/>
                </a:cubicBezTo>
                <a:cubicBezTo>
                  <a:pt x="148" y="222"/>
                  <a:pt x="148" y="222"/>
                  <a:pt x="148" y="222"/>
                </a:cubicBezTo>
                <a:cubicBezTo>
                  <a:pt x="187" y="222"/>
                  <a:pt x="220" y="190"/>
                  <a:pt x="220" y="150"/>
                </a:cubicBezTo>
                <a:cubicBezTo>
                  <a:pt x="220" y="103"/>
                  <a:pt x="220" y="103"/>
                  <a:pt x="220" y="103"/>
                </a:cubicBezTo>
                <a:cubicBezTo>
                  <a:pt x="220" y="72"/>
                  <a:pt x="220" y="72"/>
                  <a:pt x="220" y="72"/>
                </a:cubicBezTo>
                <a:cubicBezTo>
                  <a:pt x="220" y="0"/>
                  <a:pt x="220" y="0"/>
                  <a:pt x="220" y="0"/>
                </a:cubicBezTo>
                <a:lnTo>
                  <a:pt x="148" y="0"/>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46" name="淘宝网chenying0907出品 8"/>
          <p:cNvSpPr/>
          <p:nvPr/>
        </p:nvSpPr>
        <p:spPr bwMode="auto">
          <a:xfrm>
            <a:off x="6056709" y="1779662"/>
            <a:ext cx="1971675" cy="2001838"/>
          </a:xfrm>
          <a:custGeom>
            <a:avLst/>
            <a:gdLst>
              <a:gd name="T0" fmla="*/ 147 w 219"/>
              <a:gd name="T1" fmla="*/ 0 h 222"/>
              <a:gd name="T2" fmla="*/ 75 w 219"/>
              <a:gd name="T3" fmla="*/ 0 h 222"/>
              <a:gd name="T4" fmla="*/ 72 w 219"/>
              <a:gd name="T5" fmla="*/ 0 h 222"/>
              <a:gd name="T6" fmla="*/ 0 w 219"/>
              <a:gd name="T7" fmla="*/ 72 h 222"/>
              <a:gd name="T8" fmla="*/ 0 w 219"/>
              <a:gd name="T9" fmla="*/ 119 h 222"/>
              <a:gd name="T10" fmla="*/ 0 w 219"/>
              <a:gd name="T11" fmla="*/ 150 h 222"/>
              <a:gd name="T12" fmla="*/ 0 w 219"/>
              <a:gd name="T13" fmla="*/ 222 h 222"/>
              <a:gd name="T14" fmla="*/ 72 w 219"/>
              <a:gd name="T15" fmla="*/ 222 h 222"/>
              <a:gd name="T16" fmla="*/ 144 w 219"/>
              <a:gd name="T17" fmla="*/ 222 h 222"/>
              <a:gd name="T18" fmla="*/ 147 w 219"/>
              <a:gd name="T19" fmla="*/ 222 h 222"/>
              <a:gd name="T20" fmla="*/ 219 w 219"/>
              <a:gd name="T21" fmla="*/ 150 h 222"/>
              <a:gd name="T22" fmla="*/ 219 w 219"/>
              <a:gd name="T23" fmla="*/ 103 h 222"/>
              <a:gd name="T24" fmla="*/ 219 w 219"/>
              <a:gd name="T25" fmla="*/ 72 h 222"/>
              <a:gd name="T26" fmla="*/ 219 w 219"/>
              <a:gd name="T27" fmla="*/ 0 h 222"/>
              <a:gd name="T28" fmla="*/ 147 w 219"/>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2">
                <a:moveTo>
                  <a:pt x="147" y="0"/>
                </a:moveTo>
                <a:cubicBezTo>
                  <a:pt x="75" y="0"/>
                  <a:pt x="75" y="0"/>
                  <a:pt x="75" y="0"/>
                </a:cubicBezTo>
                <a:cubicBezTo>
                  <a:pt x="72" y="0"/>
                  <a:pt x="72" y="0"/>
                  <a:pt x="72" y="0"/>
                </a:cubicBezTo>
                <a:cubicBezTo>
                  <a:pt x="32"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4" y="222"/>
                  <a:pt x="144" y="222"/>
                  <a:pt x="144" y="222"/>
                </a:cubicBezTo>
                <a:cubicBezTo>
                  <a:pt x="147" y="222"/>
                  <a:pt x="147" y="222"/>
                  <a:pt x="147" y="222"/>
                </a:cubicBezTo>
                <a:cubicBezTo>
                  <a:pt x="187" y="222"/>
                  <a:pt x="219" y="190"/>
                  <a:pt x="219" y="150"/>
                </a:cubicBezTo>
                <a:cubicBezTo>
                  <a:pt x="219" y="103"/>
                  <a:pt x="219" y="103"/>
                  <a:pt x="219" y="103"/>
                </a:cubicBezTo>
                <a:cubicBezTo>
                  <a:pt x="219" y="72"/>
                  <a:pt x="219" y="72"/>
                  <a:pt x="219" y="72"/>
                </a:cubicBezTo>
                <a:cubicBezTo>
                  <a:pt x="219" y="0"/>
                  <a:pt x="219" y="0"/>
                  <a:pt x="219" y="0"/>
                </a:cubicBezTo>
                <a:lnTo>
                  <a:pt x="147" y="0"/>
                </a:lnTo>
                <a:close/>
              </a:path>
            </a:pathLst>
          </a:custGeom>
          <a:solidFill>
            <a:srgbClr val="2C53B6"/>
          </a:solidFill>
          <a:ln>
            <a:noFill/>
          </a:ln>
        </p:spPr>
        <p:txBody>
          <a:bodyPr vert="horz" wrap="square" lIns="91440" tIns="45720" rIns="91440" bIns="45720" numCol="1" anchor="t" anchorCtr="0" compatLnSpc="1"/>
          <a:lstStyle/>
          <a:p>
            <a:endParaRPr lang="zh-CN" altLang="en-US"/>
          </a:p>
        </p:txBody>
      </p:sp>
      <p:sp>
        <p:nvSpPr>
          <p:cNvPr id="47" name="TextBox 60"/>
          <p:cNvSpPr txBox="1"/>
          <p:nvPr/>
        </p:nvSpPr>
        <p:spPr>
          <a:xfrm>
            <a:off x="1457398" y="1995686"/>
            <a:ext cx="1098378" cy="769441"/>
          </a:xfrm>
          <a:prstGeom prst="rect">
            <a:avLst/>
          </a:prstGeom>
          <a:noFill/>
        </p:spPr>
        <p:txBody>
          <a:bodyPr wrap="none" rtlCol="0">
            <a:spAutoFit/>
          </a:bodyPr>
          <a:lstStyle/>
          <a:p>
            <a:r>
              <a:rPr lang="en-US" altLang="zh-CN" sz="4400" dirty="0">
                <a:solidFill>
                  <a:schemeClr val="bg1"/>
                </a:solidFill>
                <a:latin typeface="Impact" panose="020B0806030902050204" pitchFamily="34" charset="0"/>
                <a:ea typeface="微软雅黑" panose="020B0503020204020204" pitchFamily="34" charset="-122"/>
              </a:rPr>
              <a:t>87%</a:t>
            </a:r>
            <a:endParaRPr lang="zh-CN" altLang="en-US" sz="4400" dirty="0">
              <a:solidFill>
                <a:schemeClr val="bg1"/>
              </a:solidFill>
              <a:latin typeface="Impact" panose="020B0806030902050204" pitchFamily="34" charset="0"/>
              <a:ea typeface="微软雅黑" panose="020B0503020204020204" pitchFamily="34" charset="-122"/>
            </a:endParaRPr>
          </a:p>
        </p:txBody>
      </p:sp>
      <p:sp>
        <p:nvSpPr>
          <p:cNvPr id="48" name="淘宝网chenying0907出品 1"/>
          <p:cNvSpPr>
            <a:spLocks noChangeArrowheads="1"/>
          </p:cNvSpPr>
          <p:nvPr/>
        </p:nvSpPr>
        <p:spPr bwMode="auto">
          <a:xfrm>
            <a:off x="975613"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a:t>
            </a:r>
          </a:p>
        </p:txBody>
      </p:sp>
      <p:cxnSp>
        <p:nvCxnSpPr>
          <p:cNvPr id="49" name="直接连接符 48"/>
          <p:cNvCxnSpPr/>
          <p:nvPr/>
        </p:nvCxnSpPr>
        <p:spPr>
          <a:xfrm>
            <a:off x="1075866"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63"/>
          <p:cNvSpPr txBox="1"/>
          <p:nvPr/>
        </p:nvSpPr>
        <p:spPr>
          <a:xfrm>
            <a:off x="3987169" y="1995686"/>
            <a:ext cx="1160895" cy="769441"/>
          </a:xfrm>
          <a:prstGeom prst="rect">
            <a:avLst/>
          </a:prstGeom>
          <a:noFill/>
        </p:spPr>
        <p:txBody>
          <a:bodyPr wrap="none" rtlCol="0">
            <a:spAutoFit/>
          </a:bodyPr>
          <a:lstStyle>
            <a:defPPr>
              <a:defRPr lang="zh-CN"/>
            </a:defPPr>
            <a:lvl1pPr>
              <a:defRPr sz="4400">
                <a:solidFill>
                  <a:schemeClr val="bg1"/>
                </a:solidFill>
                <a:latin typeface="Impact" panose="020B0806030902050204" pitchFamily="34" charset="0"/>
                <a:ea typeface="微软雅黑" panose="020B0503020204020204" pitchFamily="34" charset="-122"/>
              </a:defRPr>
            </a:lvl1pPr>
          </a:lstStyle>
          <a:p>
            <a:r>
              <a:rPr lang="en-US" altLang="zh-CN" dirty="0"/>
              <a:t>45%</a:t>
            </a:r>
            <a:endParaRPr lang="zh-CN" altLang="en-US" dirty="0"/>
          </a:p>
        </p:txBody>
      </p:sp>
      <p:sp>
        <p:nvSpPr>
          <p:cNvPr id="51" name="淘宝网chenying0907出品 1"/>
          <p:cNvSpPr>
            <a:spLocks noChangeArrowheads="1"/>
          </p:cNvSpPr>
          <p:nvPr/>
        </p:nvSpPr>
        <p:spPr bwMode="auto">
          <a:xfrm>
            <a:off x="3515295"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a:t>
            </a:r>
          </a:p>
        </p:txBody>
      </p:sp>
      <p:cxnSp>
        <p:nvCxnSpPr>
          <p:cNvPr id="52" name="直接连接符 51"/>
          <p:cNvCxnSpPr/>
          <p:nvPr/>
        </p:nvCxnSpPr>
        <p:spPr>
          <a:xfrm>
            <a:off x="3615548"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3" name="TextBox 68"/>
          <p:cNvSpPr txBox="1"/>
          <p:nvPr/>
        </p:nvSpPr>
        <p:spPr>
          <a:xfrm>
            <a:off x="6509052" y="1995686"/>
            <a:ext cx="1159292" cy="769441"/>
          </a:xfrm>
          <a:prstGeom prst="rect">
            <a:avLst/>
          </a:prstGeom>
          <a:noFill/>
        </p:spPr>
        <p:txBody>
          <a:bodyPr wrap="none" rtlCol="0">
            <a:spAutoFit/>
          </a:bodyPr>
          <a:lstStyle>
            <a:defPPr>
              <a:defRPr lang="zh-CN"/>
            </a:defPPr>
            <a:lvl1pPr>
              <a:defRPr sz="4400">
                <a:solidFill>
                  <a:schemeClr val="bg1"/>
                </a:solidFill>
                <a:latin typeface="Impact" panose="020B0806030902050204" pitchFamily="34" charset="0"/>
                <a:ea typeface="微软雅黑" panose="020B0503020204020204" pitchFamily="34" charset="-122"/>
              </a:defRPr>
            </a:lvl1pPr>
          </a:lstStyle>
          <a:p>
            <a:r>
              <a:rPr lang="en-US" altLang="zh-CN" dirty="0"/>
              <a:t>32%</a:t>
            </a:r>
            <a:endParaRPr lang="zh-CN" altLang="en-US" dirty="0"/>
          </a:p>
        </p:txBody>
      </p:sp>
      <p:sp>
        <p:nvSpPr>
          <p:cNvPr id="54" name="淘宝网chenying0907出品 1"/>
          <p:cNvSpPr>
            <a:spLocks noChangeArrowheads="1"/>
          </p:cNvSpPr>
          <p:nvPr/>
        </p:nvSpPr>
        <p:spPr bwMode="auto">
          <a:xfrm>
            <a:off x="6056708"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a:t>
            </a:r>
          </a:p>
        </p:txBody>
      </p:sp>
      <p:cxnSp>
        <p:nvCxnSpPr>
          <p:cNvPr id="55" name="直接连接符 54"/>
          <p:cNvCxnSpPr/>
          <p:nvPr/>
        </p:nvCxnSpPr>
        <p:spPr>
          <a:xfrm>
            <a:off x="6156961"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6" name="燕尾形 71"/>
          <p:cNvSpPr/>
          <p:nvPr/>
        </p:nvSpPr>
        <p:spPr>
          <a:xfrm>
            <a:off x="3056360" y="2580779"/>
            <a:ext cx="378693" cy="432048"/>
          </a:xfrm>
          <a:prstGeom prst="chevron">
            <a:avLst/>
          </a:prstGeom>
          <a:solidFill>
            <a:srgbClr val="2C53B6"/>
          </a:solidFill>
          <a:ln>
            <a:noFill/>
          </a:ln>
        </p:spPr>
        <p:txBody>
          <a:bodyPr vert="horz" wrap="square" lIns="91440" tIns="45720" rIns="91440" bIns="45720" numCol="1" anchor="t" anchorCtr="0" compatLnSpc="1"/>
          <a:lstStyle/>
          <a:p>
            <a:endParaRPr lang="zh-CN" altLang="en-US">
              <a:solidFill>
                <a:schemeClr val="tx1"/>
              </a:solidFill>
              <a:latin typeface="Calibri" panose="020F0502020204030204" pitchFamily="34" charset="0"/>
              <a:ea typeface="宋体" panose="02010600030101010101" pitchFamily="2" charset="-122"/>
            </a:endParaRPr>
          </a:p>
        </p:txBody>
      </p:sp>
      <p:sp>
        <p:nvSpPr>
          <p:cNvPr id="57" name="燕尾形 72"/>
          <p:cNvSpPr/>
          <p:nvPr/>
        </p:nvSpPr>
        <p:spPr>
          <a:xfrm>
            <a:off x="5637597" y="2580779"/>
            <a:ext cx="378693" cy="432048"/>
          </a:xfrm>
          <a:prstGeom prst="chevron">
            <a:avLst/>
          </a:prstGeom>
          <a:solidFill>
            <a:srgbClr val="2C53B6"/>
          </a:solidFill>
          <a:ln>
            <a:noFill/>
          </a:ln>
        </p:spPr>
        <p:txBody>
          <a:bodyPr vert="horz" wrap="square" lIns="91440" tIns="45720" rIns="91440" bIns="45720" numCol="1" anchor="t" anchorCtr="0" compatLnSpc="1"/>
          <a:lstStyle/>
          <a:p>
            <a:endParaRPr lang="zh-CN" altLang="en-US">
              <a:solidFill>
                <a:schemeClr val="tx1"/>
              </a:solidFill>
              <a:latin typeface="Calibri" panose="020F0502020204030204" pitchFamily="34" charset="0"/>
              <a:ea typeface="宋体" panose="02010600030101010101" pitchFamily="2" charset="-122"/>
            </a:endParaRPr>
          </a:p>
        </p:txBody>
      </p:sp>
      <p:sp>
        <p:nvSpPr>
          <p:cNvPr id="7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79" name="矩形 7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8113">
        <p15:prstTrans prst="pageCurlDouble"/>
      </p:transition>
    </mc:Choice>
    <mc:Fallback xmlns="">
      <p:transition spd="slow" advClick="0" advTm="811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53000">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14:bounceEnd="53000">
                                          <p:cBhvr additive="base">
                                            <p:cTn id="7" dur="300" fill="hold"/>
                                            <p:tgtEl>
                                              <p:spTgt spid="44"/>
                                            </p:tgtEl>
                                            <p:attrNameLst>
                                              <p:attrName>ppt_x</p:attrName>
                                            </p:attrNameLst>
                                          </p:cBhvr>
                                          <p:tavLst>
                                            <p:tav tm="0">
                                              <p:val>
                                                <p:strVal val="0-#ppt_w/2"/>
                                              </p:val>
                                            </p:tav>
                                            <p:tav tm="100000">
                                              <p:val>
                                                <p:strVal val="#ppt_x"/>
                                              </p:val>
                                            </p:tav>
                                          </p:tavLst>
                                        </p:anim>
                                        <p:anim calcmode="lin" valueType="num" p14:bounceEnd="53000">
                                          <p:cBhvr additive="base">
                                            <p:cTn id="8" dur="3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14:presetBounceEnd="53000">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14:bounceEnd="53000">
                                          <p:cBhvr additive="base">
                                            <p:cTn id="12" dur="300" fill="hold"/>
                                            <p:tgtEl>
                                              <p:spTgt spid="56"/>
                                            </p:tgtEl>
                                            <p:attrNameLst>
                                              <p:attrName>ppt_x</p:attrName>
                                            </p:attrNameLst>
                                          </p:cBhvr>
                                          <p:tavLst>
                                            <p:tav tm="0">
                                              <p:val>
                                                <p:strVal val="0-#ppt_w/2"/>
                                              </p:val>
                                            </p:tav>
                                            <p:tav tm="100000">
                                              <p:val>
                                                <p:strVal val="#ppt_x"/>
                                              </p:val>
                                            </p:tav>
                                          </p:tavLst>
                                        </p:anim>
                                        <p:anim calcmode="lin" valueType="num" p14:bounceEnd="53000">
                                          <p:cBhvr additive="base">
                                            <p:cTn id="13" dur="300" fill="hold"/>
                                            <p:tgtEl>
                                              <p:spTgt spid="5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14:presetBounceEnd="53000">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14:bounceEnd="53000">
                                          <p:cBhvr additive="base">
                                            <p:cTn id="17" dur="300" fill="hold"/>
                                            <p:tgtEl>
                                              <p:spTgt spid="45"/>
                                            </p:tgtEl>
                                            <p:attrNameLst>
                                              <p:attrName>ppt_x</p:attrName>
                                            </p:attrNameLst>
                                          </p:cBhvr>
                                          <p:tavLst>
                                            <p:tav tm="0">
                                              <p:val>
                                                <p:strVal val="0-#ppt_w/2"/>
                                              </p:val>
                                            </p:tav>
                                            <p:tav tm="100000">
                                              <p:val>
                                                <p:strVal val="#ppt_x"/>
                                              </p:val>
                                            </p:tav>
                                          </p:tavLst>
                                        </p:anim>
                                        <p:anim calcmode="lin" valueType="num" p14:bounceEnd="53000">
                                          <p:cBhvr additive="base">
                                            <p:cTn id="18" dur="300" fill="hold"/>
                                            <p:tgtEl>
                                              <p:spTgt spid="4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14:presetBounceEnd="53000">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14:bounceEnd="53000">
                                          <p:cBhvr additive="base">
                                            <p:cTn id="22" dur="300" fill="hold"/>
                                            <p:tgtEl>
                                              <p:spTgt spid="57"/>
                                            </p:tgtEl>
                                            <p:attrNameLst>
                                              <p:attrName>ppt_x</p:attrName>
                                            </p:attrNameLst>
                                          </p:cBhvr>
                                          <p:tavLst>
                                            <p:tav tm="0">
                                              <p:val>
                                                <p:strVal val="0-#ppt_w/2"/>
                                              </p:val>
                                            </p:tav>
                                            <p:tav tm="100000">
                                              <p:val>
                                                <p:strVal val="#ppt_x"/>
                                              </p:val>
                                            </p:tav>
                                          </p:tavLst>
                                        </p:anim>
                                        <p:anim calcmode="lin" valueType="num" p14:bounceEnd="53000">
                                          <p:cBhvr additive="base">
                                            <p:cTn id="23" dur="300" fill="hold"/>
                                            <p:tgtEl>
                                              <p:spTgt spid="5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14:presetBounceEnd="53000">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14:bounceEnd="53000">
                                          <p:cBhvr additive="base">
                                            <p:cTn id="27" dur="300" fill="hold"/>
                                            <p:tgtEl>
                                              <p:spTgt spid="46"/>
                                            </p:tgtEl>
                                            <p:attrNameLst>
                                              <p:attrName>ppt_x</p:attrName>
                                            </p:attrNameLst>
                                          </p:cBhvr>
                                          <p:tavLst>
                                            <p:tav tm="0">
                                              <p:val>
                                                <p:strVal val="0-#ppt_w/2"/>
                                              </p:val>
                                            </p:tav>
                                            <p:tav tm="100000">
                                              <p:val>
                                                <p:strVal val="#ppt_x"/>
                                              </p:val>
                                            </p:tav>
                                          </p:tavLst>
                                        </p:anim>
                                        <p:anim calcmode="lin" valueType="num" p14:bounceEnd="53000">
                                          <p:cBhvr additive="base">
                                            <p:cTn id="28" dur="300" fill="hold"/>
                                            <p:tgtEl>
                                              <p:spTgt spid="46"/>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childTnLst>
                              </p:cTn>
                            </p:par>
                            <p:par>
                              <p:cTn id="37" fill="hold">
                                <p:stCondLst>
                                  <p:cond delay="3500"/>
                                </p:stCondLst>
                                <p:childTnLst>
                                  <p:par>
                                    <p:cTn id="38" presetID="42" presetClass="entr" presetSubtype="0" fill="hold" grpId="0" nodeType="after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600"/>
                                            <p:tgtEl>
                                              <p:spTgt spid="48"/>
                                            </p:tgtEl>
                                          </p:cBhvr>
                                        </p:animEffect>
                                        <p:anim calcmode="lin" valueType="num">
                                          <p:cBhvr>
                                            <p:cTn id="41" dur="600" fill="hold"/>
                                            <p:tgtEl>
                                              <p:spTgt spid="48"/>
                                            </p:tgtEl>
                                            <p:attrNameLst>
                                              <p:attrName>ppt_x</p:attrName>
                                            </p:attrNameLst>
                                          </p:cBhvr>
                                          <p:tavLst>
                                            <p:tav tm="0">
                                              <p:val>
                                                <p:strVal val="#ppt_x"/>
                                              </p:val>
                                            </p:tav>
                                            <p:tav tm="100000">
                                              <p:val>
                                                <p:strVal val="#ppt_x"/>
                                              </p:val>
                                            </p:tav>
                                          </p:tavLst>
                                        </p:anim>
                                        <p:anim calcmode="lin" valueType="num">
                                          <p:cBhvr>
                                            <p:cTn id="42" dur="600" fill="hold"/>
                                            <p:tgtEl>
                                              <p:spTgt spid="48"/>
                                            </p:tgtEl>
                                            <p:attrNameLst>
                                              <p:attrName>ppt_y</p:attrName>
                                            </p:attrNameLst>
                                          </p:cBhvr>
                                          <p:tavLst>
                                            <p:tav tm="0">
                                              <p:val>
                                                <p:strVal val="#ppt_y+.1"/>
                                              </p:val>
                                            </p:tav>
                                            <p:tav tm="100000">
                                              <p:val>
                                                <p:strVal val="#ppt_y"/>
                                              </p:val>
                                            </p:tav>
                                          </p:tavLst>
                                        </p:anim>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50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5500"/>
                                </p:stCondLst>
                                <p:childTnLst>
                                  <p:par>
                                    <p:cTn id="52" presetID="42"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600"/>
                                            <p:tgtEl>
                                              <p:spTgt spid="51"/>
                                            </p:tgtEl>
                                          </p:cBhvr>
                                        </p:animEffect>
                                        <p:anim calcmode="lin" valueType="num">
                                          <p:cBhvr>
                                            <p:cTn id="55" dur="600" fill="hold"/>
                                            <p:tgtEl>
                                              <p:spTgt spid="51"/>
                                            </p:tgtEl>
                                            <p:attrNameLst>
                                              <p:attrName>ppt_x</p:attrName>
                                            </p:attrNameLst>
                                          </p:cBhvr>
                                          <p:tavLst>
                                            <p:tav tm="0">
                                              <p:val>
                                                <p:strVal val="#ppt_x"/>
                                              </p:val>
                                            </p:tav>
                                            <p:tav tm="100000">
                                              <p:val>
                                                <p:strVal val="#ppt_x"/>
                                              </p:val>
                                            </p:tav>
                                          </p:tavLst>
                                        </p:anim>
                                        <p:anim calcmode="lin" valueType="num">
                                          <p:cBhvr>
                                            <p:cTn id="56" dur="600" fill="hold"/>
                                            <p:tgtEl>
                                              <p:spTgt spid="51"/>
                                            </p:tgtEl>
                                            <p:attrNameLst>
                                              <p:attrName>ppt_y</p:attrName>
                                            </p:attrNameLst>
                                          </p:cBhvr>
                                          <p:tavLst>
                                            <p:tav tm="0">
                                              <p:val>
                                                <p:strVal val="#ppt_y+.1"/>
                                              </p:val>
                                            </p:tav>
                                            <p:tav tm="100000">
                                              <p:val>
                                                <p:strVal val="#ppt_y"/>
                                              </p:val>
                                            </p:tav>
                                          </p:tavLst>
                                        </p:anim>
                                      </p:childTnLst>
                                    </p:cTn>
                                  </p:par>
                                </p:childTnLst>
                              </p:cTn>
                            </p:par>
                            <p:par>
                              <p:cTn id="57" fill="hold">
                                <p:stCondLst>
                                  <p:cond delay="6500"/>
                                </p:stCondLst>
                                <p:childTnLst>
                                  <p:par>
                                    <p:cTn id="58" presetID="10" presetClass="entr" presetSubtype="0" fill="hold" grpId="0"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par>
                              <p:cTn id="61" fill="hold">
                                <p:stCondLst>
                                  <p:cond delay="7000"/>
                                </p:stCondLst>
                                <p:childTnLst>
                                  <p:par>
                                    <p:cTn id="62" presetID="22" presetClass="entr" presetSubtype="8" fill="hold"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7500"/>
                                </p:stCondLst>
                                <p:childTnLst>
                                  <p:par>
                                    <p:cTn id="66" presetID="42" presetClass="entr" presetSubtype="0" fill="hold" grpId="0"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600"/>
                                            <p:tgtEl>
                                              <p:spTgt spid="54"/>
                                            </p:tgtEl>
                                          </p:cBhvr>
                                        </p:animEffect>
                                        <p:anim calcmode="lin" valueType="num">
                                          <p:cBhvr>
                                            <p:cTn id="69" dur="600" fill="hold"/>
                                            <p:tgtEl>
                                              <p:spTgt spid="54"/>
                                            </p:tgtEl>
                                            <p:attrNameLst>
                                              <p:attrName>ppt_x</p:attrName>
                                            </p:attrNameLst>
                                          </p:cBhvr>
                                          <p:tavLst>
                                            <p:tav tm="0">
                                              <p:val>
                                                <p:strVal val="#ppt_x"/>
                                              </p:val>
                                            </p:tav>
                                            <p:tav tm="100000">
                                              <p:val>
                                                <p:strVal val="#ppt_x"/>
                                              </p:val>
                                            </p:tav>
                                          </p:tavLst>
                                        </p:anim>
                                        <p:anim calcmode="lin" valueType="num">
                                          <p:cBhvr>
                                            <p:cTn id="70" dur="6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p:bldP spid="48" grpId="0"/>
          <p:bldP spid="50" grpId="0"/>
          <p:bldP spid="51" grpId="0"/>
          <p:bldP spid="53" grpId="0"/>
          <p:bldP spid="54" grpId="0"/>
          <p:bldP spid="56" grpId="0" animBg="1"/>
          <p:bldP spid="5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300" fill="hold"/>
                                            <p:tgtEl>
                                              <p:spTgt spid="44"/>
                                            </p:tgtEl>
                                            <p:attrNameLst>
                                              <p:attrName>ppt_x</p:attrName>
                                            </p:attrNameLst>
                                          </p:cBhvr>
                                          <p:tavLst>
                                            <p:tav tm="0">
                                              <p:val>
                                                <p:strVal val="0-#ppt_w/2"/>
                                              </p:val>
                                            </p:tav>
                                            <p:tav tm="100000">
                                              <p:val>
                                                <p:strVal val="#ppt_x"/>
                                              </p:val>
                                            </p:tav>
                                          </p:tavLst>
                                        </p:anim>
                                        <p:anim calcmode="lin" valueType="num">
                                          <p:cBhvr additive="base">
                                            <p:cTn id="8" dur="3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cBhvr additive="base">
                                            <p:cTn id="12" dur="300" fill="hold"/>
                                            <p:tgtEl>
                                              <p:spTgt spid="56"/>
                                            </p:tgtEl>
                                            <p:attrNameLst>
                                              <p:attrName>ppt_x</p:attrName>
                                            </p:attrNameLst>
                                          </p:cBhvr>
                                          <p:tavLst>
                                            <p:tav tm="0">
                                              <p:val>
                                                <p:strVal val="0-#ppt_w/2"/>
                                              </p:val>
                                            </p:tav>
                                            <p:tav tm="100000">
                                              <p:val>
                                                <p:strVal val="#ppt_x"/>
                                              </p:val>
                                            </p:tav>
                                          </p:tavLst>
                                        </p:anim>
                                        <p:anim calcmode="lin" valueType="num">
                                          <p:cBhvr additive="base">
                                            <p:cTn id="13" dur="300" fill="hold"/>
                                            <p:tgtEl>
                                              <p:spTgt spid="5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300" fill="hold"/>
                                            <p:tgtEl>
                                              <p:spTgt spid="45"/>
                                            </p:tgtEl>
                                            <p:attrNameLst>
                                              <p:attrName>ppt_x</p:attrName>
                                            </p:attrNameLst>
                                          </p:cBhvr>
                                          <p:tavLst>
                                            <p:tav tm="0">
                                              <p:val>
                                                <p:strVal val="0-#ppt_w/2"/>
                                              </p:val>
                                            </p:tav>
                                            <p:tav tm="100000">
                                              <p:val>
                                                <p:strVal val="#ppt_x"/>
                                              </p:val>
                                            </p:tav>
                                          </p:tavLst>
                                        </p:anim>
                                        <p:anim calcmode="lin" valueType="num">
                                          <p:cBhvr additive="base">
                                            <p:cTn id="18" dur="300" fill="hold"/>
                                            <p:tgtEl>
                                              <p:spTgt spid="4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cBhvr additive="base">
                                            <p:cTn id="22" dur="300" fill="hold"/>
                                            <p:tgtEl>
                                              <p:spTgt spid="57"/>
                                            </p:tgtEl>
                                            <p:attrNameLst>
                                              <p:attrName>ppt_x</p:attrName>
                                            </p:attrNameLst>
                                          </p:cBhvr>
                                          <p:tavLst>
                                            <p:tav tm="0">
                                              <p:val>
                                                <p:strVal val="0-#ppt_w/2"/>
                                              </p:val>
                                            </p:tav>
                                            <p:tav tm="100000">
                                              <p:val>
                                                <p:strVal val="#ppt_x"/>
                                              </p:val>
                                            </p:tav>
                                          </p:tavLst>
                                        </p:anim>
                                        <p:anim calcmode="lin" valueType="num">
                                          <p:cBhvr additive="base">
                                            <p:cTn id="23" dur="300" fill="hold"/>
                                            <p:tgtEl>
                                              <p:spTgt spid="5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300" fill="hold"/>
                                            <p:tgtEl>
                                              <p:spTgt spid="46"/>
                                            </p:tgtEl>
                                            <p:attrNameLst>
                                              <p:attrName>ppt_x</p:attrName>
                                            </p:attrNameLst>
                                          </p:cBhvr>
                                          <p:tavLst>
                                            <p:tav tm="0">
                                              <p:val>
                                                <p:strVal val="0-#ppt_w/2"/>
                                              </p:val>
                                            </p:tav>
                                            <p:tav tm="100000">
                                              <p:val>
                                                <p:strVal val="#ppt_x"/>
                                              </p:val>
                                            </p:tav>
                                          </p:tavLst>
                                        </p:anim>
                                        <p:anim calcmode="lin" valueType="num">
                                          <p:cBhvr additive="base">
                                            <p:cTn id="28" dur="300" fill="hold"/>
                                            <p:tgtEl>
                                              <p:spTgt spid="46"/>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childTnLst>
                              </p:cTn>
                            </p:par>
                            <p:par>
                              <p:cTn id="37" fill="hold">
                                <p:stCondLst>
                                  <p:cond delay="3500"/>
                                </p:stCondLst>
                                <p:childTnLst>
                                  <p:par>
                                    <p:cTn id="38" presetID="42" presetClass="entr" presetSubtype="0" fill="hold" grpId="0" nodeType="after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600"/>
                                            <p:tgtEl>
                                              <p:spTgt spid="48"/>
                                            </p:tgtEl>
                                          </p:cBhvr>
                                        </p:animEffect>
                                        <p:anim calcmode="lin" valueType="num">
                                          <p:cBhvr>
                                            <p:cTn id="41" dur="600" fill="hold"/>
                                            <p:tgtEl>
                                              <p:spTgt spid="48"/>
                                            </p:tgtEl>
                                            <p:attrNameLst>
                                              <p:attrName>ppt_x</p:attrName>
                                            </p:attrNameLst>
                                          </p:cBhvr>
                                          <p:tavLst>
                                            <p:tav tm="0">
                                              <p:val>
                                                <p:strVal val="#ppt_x"/>
                                              </p:val>
                                            </p:tav>
                                            <p:tav tm="100000">
                                              <p:val>
                                                <p:strVal val="#ppt_x"/>
                                              </p:val>
                                            </p:tav>
                                          </p:tavLst>
                                        </p:anim>
                                        <p:anim calcmode="lin" valueType="num">
                                          <p:cBhvr>
                                            <p:cTn id="42" dur="600" fill="hold"/>
                                            <p:tgtEl>
                                              <p:spTgt spid="48"/>
                                            </p:tgtEl>
                                            <p:attrNameLst>
                                              <p:attrName>ppt_y</p:attrName>
                                            </p:attrNameLst>
                                          </p:cBhvr>
                                          <p:tavLst>
                                            <p:tav tm="0">
                                              <p:val>
                                                <p:strVal val="#ppt_y+.1"/>
                                              </p:val>
                                            </p:tav>
                                            <p:tav tm="100000">
                                              <p:val>
                                                <p:strVal val="#ppt_y"/>
                                              </p:val>
                                            </p:tav>
                                          </p:tavLst>
                                        </p:anim>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50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5500"/>
                                </p:stCondLst>
                                <p:childTnLst>
                                  <p:par>
                                    <p:cTn id="52" presetID="42"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600"/>
                                            <p:tgtEl>
                                              <p:spTgt spid="51"/>
                                            </p:tgtEl>
                                          </p:cBhvr>
                                        </p:animEffect>
                                        <p:anim calcmode="lin" valueType="num">
                                          <p:cBhvr>
                                            <p:cTn id="55" dur="600" fill="hold"/>
                                            <p:tgtEl>
                                              <p:spTgt spid="51"/>
                                            </p:tgtEl>
                                            <p:attrNameLst>
                                              <p:attrName>ppt_x</p:attrName>
                                            </p:attrNameLst>
                                          </p:cBhvr>
                                          <p:tavLst>
                                            <p:tav tm="0">
                                              <p:val>
                                                <p:strVal val="#ppt_x"/>
                                              </p:val>
                                            </p:tav>
                                            <p:tav tm="100000">
                                              <p:val>
                                                <p:strVal val="#ppt_x"/>
                                              </p:val>
                                            </p:tav>
                                          </p:tavLst>
                                        </p:anim>
                                        <p:anim calcmode="lin" valueType="num">
                                          <p:cBhvr>
                                            <p:cTn id="56" dur="600" fill="hold"/>
                                            <p:tgtEl>
                                              <p:spTgt spid="51"/>
                                            </p:tgtEl>
                                            <p:attrNameLst>
                                              <p:attrName>ppt_y</p:attrName>
                                            </p:attrNameLst>
                                          </p:cBhvr>
                                          <p:tavLst>
                                            <p:tav tm="0">
                                              <p:val>
                                                <p:strVal val="#ppt_y+.1"/>
                                              </p:val>
                                            </p:tav>
                                            <p:tav tm="100000">
                                              <p:val>
                                                <p:strVal val="#ppt_y"/>
                                              </p:val>
                                            </p:tav>
                                          </p:tavLst>
                                        </p:anim>
                                      </p:childTnLst>
                                    </p:cTn>
                                  </p:par>
                                </p:childTnLst>
                              </p:cTn>
                            </p:par>
                            <p:par>
                              <p:cTn id="57" fill="hold">
                                <p:stCondLst>
                                  <p:cond delay="6500"/>
                                </p:stCondLst>
                                <p:childTnLst>
                                  <p:par>
                                    <p:cTn id="58" presetID="10" presetClass="entr" presetSubtype="0" fill="hold" grpId="0"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par>
                              <p:cTn id="61" fill="hold">
                                <p:stCondLst>
                                  <p:cond delay="7000"/>
                                </p:stCondLst>
                                <p:childTnLst>
                                  <p:par>
                                    <p:cTn id="62" presetID="22" presetClass="entr" presetSubtype="8" fill="hold"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7500"/>
                                </p:stCondLst>
                                <p:childTnLst>
                                  <p:par>
                                    <p:cTn id="66" presetID="42" presetClass="entr" presetSubtype="0" fill="hold" grpId="0"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600"/>
                                            <p:tgtEl>
                                              <p:spTgt spid="54"/>
                                            </p:tgtEl>
                                          </p:cBhvr>
                                        </p:animEffect>
                                        <p:anim calcmode="lin" valueType="num">
                                          <p:cBhvr>
                                            <p:cTn id="69" dur="600" fill="hold"/>
                                            <p:tgtEl>
                                              <p:spTgt spid="54"/>
                                            </p:tgtEl>
                                            <p:attrNameLst>
                                              <p:attrName>ppt_x</p:attrName>
                                            </p:attrNameLst>
                                          </p:cBhvr>
                                          <p:tavLst>
                                            <p:tav tm="0">
                                              <p:val>
                                                <p:strVal val="#ppt_x"/>
                                              </p:val>
                                            </p:tav>
                                            <p:tav tm="100000">
                                              <p:val>
                                                <p:strVal val="#ppt_x"/>
                                              </p:val>
                                            </p:tav>
                                          </p:tavLst>
                                        </p:anim>
                                        <p:anim calcmode="lin" valueType="num">
                                          <p:cBhvr>
                                            <p:cTn id="70" dur="6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p:bldP spid="48" grpId="0"/>
          <p:bldP spid="50" grpId="0"/>
          <p:bldP spid="51" grpId="0"/>
          <p:bldP spid="53" grpId="0"/>
          <p:bldP spid="54" grpId="0"/>
          <p:bldP spid="56" grpId="0" animBg="1"/>
          <p:bldP spid="57"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4</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4069">
        <p:blinds dir="vert"/>
      </p:transition>
    </mc:Choice>
    <mc:Fallback xmlns="">
      <p:transition spd="slow" advClick="0" advTm="4069">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810288" y="1731851"/>
            <a:ext cx="2130085" cy="2650497"/>
          </a:xfrm>
          <a:prstGeom prst="rect">
            <a:avLst/>
          </a:prstGeom>
          <a:blipFill>
            <a:blip r:embed="rId3"/>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19" name="矩形 18"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3014297" y="1731850"/>
            <a:ext cx="1700102" cy="1292013"/>
          </a:xfrm>
          <a:prstGeom prst="rect">
            <a:avLst/>
          </a:prstGeom>
          <a:blipFill>
            <a:blip r:embed="rId4"/>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0" name="矩形 19"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4782933" y="3090334"/>
            <a:ext cx="1700102" cy="1292013"/>
          </a:xfrm>
          <a:prstGeom prst="rect">
            <a:avLst/>
          </a:prstGeom>
          <a:blipFill>
            <a:blip r:embed="rId5"/>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1" name="矩形 2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6551569" y="1731850"/>
            <a:ext cx="1700102" cy="1292013"/>
          </a:xfrm>
          <a:prstGeom prst="rect">
            <a:avLst/>
          </a:prstGeom>
          <a:blipFill>
            <a:blip r:embed="rId6"/>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grpSp>
        <p:nvGrpSpPr>
          <p:cNvPr id="22" name="组合 21"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3014297" y="3090334"/>
            <a:ext cx="1746185" cy="1292013"/>
            <a:chOff x="4074822" y="4204801"/>
            <a:chExt cx="2375911" cy="1757952"/>
          </a:xfrm>
        </p:grpSpPr>
        <p:sp>
          <p:nvSpPr>
            <p:cNvPr id="23" name="矩形 22"/>
            <p:cNvSpPr/>
            <p:nvPr/>
          </p:nvSpPr>
          <p:spPr>
            <a:xfrm>
              <a:off x="4074822" y="4204801"/>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24" name="文本框 23"/>
            <p:cNvSpPr txBox="1"/>
            <p:nvPr/>
          </p:nvSpPr>
          <p:spPr>
            <a:xfrm>
              <a:off x="4214676" y="4696178"/>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p:txBody>
        </p:sp>
      </p:grpSp>
      <p:grpSp>
        <p:nvGrpSpPr>
          <p:cNvPr id="25" name="组合 2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782934" y="1731850"/>
            <a:ext cx="1711051" cy="1292013"/>
            <a:chOff x="6481281" y="2356407"/>
            <a:chExt cx="2328106" cy="1757952"/>
          </a:xfrm>
        </p:grpSpPr>
        <p:sp>
          <p:nvSpPr>
            <p:cNvPr id="26" name="矩形 25"/>
            <p:cNvSpPr/>
            <p:nvPr/>
          </p:nvSpPr>
          <p:spPr>
            <a:xfrm>
              <a:off x="6481281" y="2356407"/>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27" name="文本框 26"/>
            <p:cNvSpPr txBox="1"/>
            <p:nvPr/>
          </p:nvSpPr>
          <p:spPr>
            <a:xfrm>
              <a:off x="6573330" y="2931287"/>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p:txBody>
        </p:sp>
      </p:gr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6551570" y="3090334"/>
            <a:ext cx="1732729" cy="1292013"/>
            <a:chOff x="8887740" y="4204801"/>
            <a:chExt cx="2357602" cy="1757952"/>
          </a:xfrm>
        </p:grpSpPr>
        <p:sp>
          <p:nvSpPr>
            <p:cNvPr id="29" name="矩形 28"/>
            <p:cNvSpPr/>
            <p:nvPr/>
          </p:nvSpPr>
          <p:spPr>
            <a:xfrm>
              <a:off x="8887740" y="4204801"/>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30" name="文本框 29"/>
            <p:cNvSpPr txBox="1"/>
            <p:nvPr/>
          </p:nvSpPr>
          <p:spPr>
            <a:xfrm>
              <a:off x="9009285" y="4696178"/>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r>
                <a:rPr lang="zh-CN" altLang="en-US" sz="810"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a:p>
              <a:endParaRPr lang="en-US" altLang="zh-CN" sz="810" dirty="0">
                <a:solidFill>
                  <a:srgbClr val="FBF5E9"/>
                </a:solidFill>
                <a:latin typeface="微软雅黑" panose="020B0503020204020204" pitchFamily="34" charset="-122"/>
                <a:ea typeface="微软雅黑" panose="020B0503020204020204" pitchFamily="34" charset="-122"/>
              </a:endParaRPr>
            </a:p>
          </p:txBody>
        </p:sp>
      </p:grpSp>
      <p:sp>
        <p:nvSpPr>
          <p:cNvPr id="31"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2" name="矩形 31"/>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3243">
        <p14:prism isInverted="1"/>
      </p:transition>
    </mc:Choice>
    <mc:Fallback xmlns="">
      <p:transition spd="slow" advClick="0" advTm="324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par>
                          <p:cTn id="8" fill="hold">
                            <p:stCondLst>
                              <p:cond delay="500"/>
                            </p:stCondLst>
                            <p:childTnLst>
                              <p:par>
                                <p:cTn id="9" presetID="2" presetClass="entr" presetSubtype="1" decel="4400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ppt_x"/>
                                          </p:val>
                                        </p:tav>
                                        <p:tav tm="100000">
                                          <p:val>
                                            <p:strVal val="#ppt_x"/>
                                          </p:val>
                                        </p:tav>
                                      </p:tavLst>
                                    </p:anim>
                                    <p:anim calcmode="lin" valueType="num">
                                      <p:cBhvr additive="base">
                                        <p:cTn id="12" dur="75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4" decel="44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750" fill="hold"/>
                                        <p:tgtEl>
                                          <p:spTgt spid="20"/>
                                        </p:tgtEl>
                                        <p:attrNameLst>
                                          <p:attrName>ppt_x</p:attrName>
                                        </p:attrNameLst>
                                      </p:cBhvr>
                                      <p:tavLst>
                                        <p:tav tm="0">
                                          <p:val>
                                            <p:strVal val="#ppt_x"/>
                                          </p:val>
                                        </p:tav>
                                        <p:tav tm="100000">
                                          <p:val>
                                            <p:strVal val="#ppt_x"/>
                                          </p:val>
                                        </p:tav>
                                      </p:tavLst>
                                    </p:anim>
                                    <p:anim calcmode="lin" valueType="num">
                                      <p:cBhvr additive="base">
                                        <p:cTn id="16" dur="75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1" decel="4400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750" fill="hold"/>
                                        <p:tgtEl>
                                          <p:spTgt spid="21"/>
                                        </p:tgtEl>
                                        <p:attrNameLst>
                                          <p:attrName>ppt_x</p:attrName>
                                        </p:attrNameLst>
                                      </p:cBhvr>
                                      <p:tavLst>
                                        <p:tav tm="0">
                                          <p:val>
                                            <p:strVal val="#ppt_x"/>
                                          </p:val>
                                        </p:tav>
                                        <p:tav tm="100000">
                                          <p:val>
                                            <p:strVal val="#ppt_x"/>
                                          </p:val>
                                        </p:tav>
                                      </p:tavLst>
                                    </p:anim>
                                    <p:anim calcmode="lin" valueType="num">
                                      <p:cBhvr additive="base">
                                        <p:cTn id="20" dur="750" fill="hold"/>
                                        <p:tgtEl>
                                          <p:spTgt spid="21"/>
                                        </p:tgtEl>
                                        <p:attrNameLst>
                                          <p:attrName>ppt_y</p:attrName>
                                        </p:attrNameLst>
                                      </p:cBhvr>
                                      <p:tavLst>
                                        <p:tav tm="0">
                                          <p:val>
                                            <p:strVal val="0-#ppt_h/2"/>
                                          </p:val>
                                        </p:tav>
                                        <p:tav tm="100000">
                                          <p:val>
                                            <p:strVal val="#ppt_y"/>
                                          </p:val>
                                        </p:tav>
                                      </p:tavLst>
                                    </p:anim>
                                  </p:childTnLst>
                                </p:cTn>
                              </p:par>
                            </p:childTnLst>
                          </p:cTn>
                        </p:par>
                        <p:par>
                          <p:cTn id="21" fill="hold">
                            <p:stCondLst>
                              <p:cond delay="1500"/>
                            </p:stCondLst>
                            <p:childTnLst>
                              <p:par>
                                <p:cTn id="22" presetID="2" presetClass="entr" presetSubtype="4" decel="44000"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anim calcmode="lin" valueType="num">
                                      <p:cBhvr additive="base">
                                        <p:cTn id="24" dur="750" fill="hold"/>
                                        <p:tgtEl>
                                          <p:spTgt spid="22"/>
                                        </p:tgtEl>
                                        <p:attrNameLst>
                                          <p:attrName>ppt_x</p:attrName>
                                        </p:attrNameLst>
                                      </p:cBhvr>
                                      <p:tavLst>
                                        <p:tav tm="0">
                                          <p:val>
                                            <p:strVal val="#ppt_x"/>
                                          </p:val>
                                        </p:tav>
                                        <p:tav tm="100000">
                                          <p:val>
                                            <p:strVal val="#ppt_x"/>
                                          </p:val>
                                        </p:tav>
                                      </p:tavLst>
                                    </p:anim>
                                    <p:anim calcmode="lin" valueType="num">
                                      <p:cBhvr additive="base">
                                        <p:cTn id="25" dur="750" fill="hold"/>
                                        <p:tgtEl>
                                          <p:spTgt spid="22"/>
                                        </p:tgtEl>
                                        <p:attrNameLst>
                                          <p:attrName>ppt_y</p:attrName>
                                        </p:attrNameLst>
                                      </p:cBhvr>
                                      <p:tavLst>
                                        <p:tav tm="0">
                                          <p:val>
                                            <p:strVal val="1+#ppt_h/2"/>
                                          </p:val>
                                        </p:tav>
                                        <p:tav tm="100000">
                                          <p:val>
                                            <p:strVal val="#ppt_y"/>
                                          </p:val>
                                        </p:tav>
                                      </p:tavLst>
                                    </p:anim>
                                  </p:childTnLst>
                                </p:cTn>
                              </p:par>
                              <p:par>
                                <p:cTn id="26" presetID="2" presetClass="entr" presetSubtype="1" decel="44000" fill="hold" nodeType="withEffect">
                                  <p:stCondLst>
                                    <p:cond delay="0"/>
                                  </p:stCondLst>
                                  <p:childTnLst>
                                    <p:set>
                                      <p:cBhvr>
                                        <p:cTn id="27" dur="1" fill="hold">
                                          <p:stCondLst>
                                            <p:cond delay="0"/>
                                          </p:stCondLst>
                                        </p:cTn>
                                        <p:tgtEl>
                                          <p:spTgt spid="25"/>
                                        </p:tgtEl>
                                        <p:attrNameLst>
                                          <p:attrName>style.visibility</p:attrName>
                                        </p:attrNameLst>
                                      </p:cBhvr>
                                      <p:to>
                                        <p:strVal val="visible"/>
                                      </p:to>
                                    </p:set>
                                    <p:anim calcmode="lin" valueType="num">
                                      <p:cBhvr additive="base">
                                        <p:cTn id="28" dur="750" fill="hold"/>
                                        <p:tgtEl>
                                          <p:spTgt spid="25"/>
                                        </p:tgtEl>
                                        <p:attrNameLst>
                                          <p:attrName>ppt_x</p:attrName>
                                        </p:attrNameLst>
                                      </p:cBhvr>
                                      <p:tavLst>
                                        <p:tav tm="0">
                                          <p:val>
                                            <p:strVal val="#ppt_x"/>
                                          </p:val>
                                        </p:tav>
                                        <p:tav tm="100000">
                                          <p:val>
                                            <p:strVal val="#ppt_x"/>
                                          </p:val>
                                        </p:tav>
                                      </p:tavLst>
                                    </p:anim>
                                    <p:anim calcmode="lin" valueType="num">
                                      <p:cBhvr additive="base">
                                        <p:cTn id="29" dur="750" fill="hold"/>
                                        <p:tgtEl>
                                          <p:spTgt spid="25"/>
                                        </p:tgtEl>
                                        <p:attrNameLst>
                                          <p:attrName>ppt_y</p:attrName>
                                        </p:attrNameLst>
                                      </p:cBhvr>
                                      <p:tavLst>
                                        <p:tav tm="0">
                                          <p:val>
                                            <p:strVal val="0-#ppt_h/2"/>
                                          </p:val>
                                        </p:tav>
                                        <p:tav tm="100000">
                                          <p:val>
                                            <p:strVal val="#ppt_y"/>
                                          </p:val>
                                        </p:tav>
                                      </p:tavLst>
                                    </p:anim>
                                  </p:childTnLst>
                                </p:cTn>
                              </p:par>
                              <p:par>
                                <p:cTn id="30" presetID="2" presetClass="entr" presetSubtype="4" decel="44000"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750" fill="hold"/>
                                        <p:tgtEl>
                                          <p:spTgt spid="28"/>
                                        </p:tgtEl>
                                        <p:attrNameLst>
                                          <p:attrName>ppt_x</p:attrName>
                                        </p:attrNameLst>
                                      </p:cBhvr>
                                      <p:tavLst>
                                        <p:tav tm="0">
                                          <p:val>
                                            <p:strVal val="#ppt_x"/>
                                          </p:val>
                                        </p:tav>
                                        <p:tav tm="100000">
                                          <p:val>
                                            <p:strVal val="#ppt_x"/>
                                          </p:val>
                                        </p:tav>
                                      </p:tavLst>
                                    </p:anim>
                                    <p:anim calcmode="lin" valueType="num">
                                      <p:cBhvr additive="base">
                                        <p:cTn id="33" dur="75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p:nvPr/>
        </p:nvSpPr>
        <p:spPr bwMode="auto">
          <a:xfrm>
            <a:off x="2107107" y="1974979"/>
            <a:ext cx="2412816" cy="2412816"/>
          </a:xfrm>
          <a:custGeom>
            <a:avLst/>
            <a:gdLst>
              <a:gd name="T0" fmla="*/ 1641475 w 4042"/>
              <a:gd name="T1" fmla="*/ 0 h 4042"/>
              <a:gd name="T2" fmla="*/ 3282950 w 4042"/>
              <a:gd name="T3" fmla="*/ 1641476 h 4042"/>
              <a:gd name="T4" fmla="*/ 1641475 w 4042"/>
              <a:gd name="T5" fmla="*/ 3282951 h 4042"/>
              <a:gd name="T6" fmla="*/ 0 w 4042"/>
              <a:gd name="T7" fmla="*/ 1641476 h 4042"/>
              <a:gd name="T8" fmla="*/ 1641475 w 4042"/>
              <a:gd name="T9" fmla="*/ 0 h 4042"/>
              <a:gd name="T10" fmla="*/ 0 60000 65536"/>
              <a:gd name="T11" fmla="*/ 0 60000 65536"/>
              <a:gd name="T12" fmla="*/ 0 60000 65536"/>
              <a:gd name="T13" fmla="*/ 0 60000 65536"/>
              <a:gd name="T14" fmla="*/ 0 60000 65536"/>
              <a:gd name="T15" fmla="*/ 0 w 4042"/>
              <a:gd name="T16" fmla="*/ 0 h 4042"/>
              <a:gd name="T17" fmla="*/ 4042 w 4042"/>
              <a:gd name="T18" fmla="*/ 4042 h 4042"/>
            </a:gdLst>
            <a:ahLst/>
            <a:cxnLst>
              <a:cxn ang="T10">
                <a:pos x="T0" y="T1"/>
              </a:cxn>
              <a:cxn ang="T11">
                <a:pos x="T2" y="T3"/>
              </a:cxn>
              <a:cxn ang="T12">
                <a:pos x="T4" y="T5"/>
              </a:cxn>
              <a:cxn ang="T13">
                <a:pos x="T6" y="T7"/>
              </a:cxn>
              <a:cxn ang="T14">
                <a:pos x="T8" y="T9"/>
              </a:cxn>
            </a:cxnLst>
            <a:rect l="T15" t="T16" r="T17" b="T18"/>
            <a:pathLst>
              <a:path w="4042" h="4042">
                <a:moveTo>
                  <a:pt x="2021" y="0"/>
                </a:moveTo>
                <a:lnTo>
                  <a:pt x="4042" y="2021"/>
                </a:lnTo>
                <a:lnTo>
                  <a:pt x="2021" y="4042"/>
                </a:lnTo>
                <a:lnTo>
                  <a:pt x="0" y="2021"/>
                </a:lnTo>
                <a:lnTo>
                  <a:pt x="2021" y="0"/>
                </a:lnTo>
                <a:close/>
              </a:path>
            </a:pathLst>
          </a:cu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18" name="Freeform 7"/>
          <p:cNvSpPr/>
          <p:nvPr/>
        </p:nvSpPr>
        <p:spPr bwMode="auto">
          <a:xfrm>
            <a:off x="3724207" y="1410277"/>
            <a:ext cx="1711606" cy="1711606"/>
          </a:xfrm>
          <a:custGeom>
            <a:avLst/>
            <a:gdLst>
              <a:gd name="T0" fmla="*/ 1164024 w 2867"/>
              <a:gd name="T1" fmla="*/ 0 h 2867"/>
              <a:gd name="T2" fmla="*/ 2328861 w 2867"/>
              <a:gd name="T3" fmla="*/ 1164838 h 2867"/>
              <a:gd name="T4" fmla="*/ 1164024 w 2867"/>
              <a:gd name="T5" fmla="*/ 2328863 h 2867"/>
              <a:gd name="T6" fmla="*/ 0 w 2867"/>
              <a:gd name="T7" fmla="*/ 1164838 h 2867"/>
              <a:gd name="T8" fmla="*/ 1164024 w 2867"/>
              <a:gd name="T9" fmla="*/ 0 h 2867"/>
              <a:gd name="T10" fmla="*/ 0 60000 65536"/>
              <a:gd name="T11" fmla="*/ 0 60000 65536"/>
              <a:gd name="T12" fmla="*/ 0 60000 65536"/>
              <a:gd name="T13" fmla="*/ 0 60000 65536"/>
              <a:gd name="T14" fmla="*/ 0 60000 65536"/>
              <a:gd name="T15" fmla="*/ 0 w 2867"/>
              <a:gd name="T16" fmla="*/ 0 h 2867"/>
              <a:gd name="T17" fmla="*/ 2867 w 2867"/>
              <a:gd name="T18" fmla="*/ 2867 h 2867"/>
            </a:gdLst>
            <a:ahLst/>
            <a:cxnLst>
              <a:cxn ang="T10">
                <a:pos x="T0" y="T1"/>
              </a:cxn>
              <a:cxn ang="T11">
                <a:pos x="T2" y="T3"/>
              </a:cxn>
              <a:cxn ang="T12">
                <a:pos x="T4" y="T5"/>
              </a:cxn>
              <a:cxn ang="T13">
                <a:pos x="T6" y="T7"/>
              </a:cxn>
              <a:cxn ang="T14">
                <a:pos x="T8" y="T9"/>
              </a:cxn>
            </a:cxnLst>
            <a:rect l="T15" t="T16" r="T17" b="T18"/>
            <a:pathLst>
              <a:path w="2867" h="2867">
                <a:moveTo>
                  <a:pt x="1433" y="0"/>
                </a:moveTo>
                <a:lnTo>
                  <a:pt x="2867" y="1434"/>
                </a:lnTo>
                <a:lnTo>
                  <a:pt x="1433" y="2867"/>
                </a:lnTo>
                <a:lnTo>
                  <a:pt x="0" y="1434"/>
                </a:lnTo>
                <a:lnTo>
                  <a:pt x="1433" y="0"/>
                </a:lnTo>
                <a:close/>
              </a:path>
            </a:pathLst>
          </a:custGeom>
          <a:solidFill>
            <a:schemeClr val="bg1">
              <a:lumMod val="65000"/>
            </a:schemeClr>
          </a:solidFill>
          <a:ln>
            <a:noFill/>
          </a:ln>
        </p:spPr>
        <p:txBody>
          <a:bodyPr lIns="67200" tIns="33600" rIns="67200" bIns="33600"/>
          <a:lstStyle/>
          <a:p>
            <a:endParaRPr lang="zh-CN" altLang="en-US" sz="975">
              <a:solidFill>
                <a:srgbClr val="206DC1"/>
              </a:solidFill>
              <a:latin typeface="微软雅黑" panose="020B0503020204020204" pitchFamily="34" charset="-122"/>
              <a:ea typeface="微软雅黑" panose="020B0503020204020204" pitchFamily="34" charset="-122"/>
            </a:endParaRPr>
          </a:p>
        </p:txBody>
      </p:sp>
      <p:sp>
        <p:nvSpPr>
          <p:cNvPr id="19" name="Freeform 8"/>
          <p:cNvSpPr/>
          <p:nvPr/>
        </p:nvSpPr>
        <p:spPr bwMode="auto">
          <a:xfrm>
            <a:off x="3856050" y="3240892"/>
            <a:ext cx="1449090" cy="1449090"/>
          </a:xfrm>
          <a:custGeom>
            <a:avLst/>
            <a:gdLst>
              <a:gd name="T0" fmla="*/ 985431 w 2427"/>
              <a:gd name="T1" fmla="*/ 0 h 2427"/>
              <a:gd name="T2" fmla="*/ 1971675 w 2427"/>
              <a:gd name="T3" fmla="*/ 986244 h 2427"/>
              <a:gd name="T4" fmla="*/ 985431 w 2427"/>
              <a:gd name="T5" fmla="*/ 1971675 h 2427"/>
              <a:gd name="T6" fmla="*/ 0 w 2427"/>
              <a:gd name="T7" fmla="*/ 986244 h 2427"/>
              <a:gd name="T8" fmla="*/ 985431 w 2427"/>
              <a:gd name="T9" fmla="*/ 0 h 2427"/>
              <a:gd name="T10" fmla="*/ 0 60000 65536"/>
              <a:gd name="T11" fmla="*/ 0 60000 65536"/>
              <a:gd name="T12" fmla="*/ 0 60000 65536"/>
              <a:gd name="T13" fmla="*/ 0 60000 65536"/>
              <a:gd name="T14" fmla="*/ 0 60000 65536"/>
              <a:gd name="T15" fmla="*/ 0 w 2427"/>
              <a:gd name="T16" fmla="*/ 0 h 2427"/>
              <a:gd name="T17" fmla="*/ 2427 w 2427"/>
              <a:gd name="T18" fmla="*/ 2427 h 2427"/>
            </a:gdLst>
            <a:ahLst/>
            <a:cxnLst>
              <a:cxn ang="T10">
                <a:pos x="T0" y="T1"/>
              </a:cxn>
              <a:cxn ang="T11">
                <a:pos x="T2" y="T3"/>
              </a:cxn>
              <a:cxn ang="T12">
                <a:pos x="T4" y="T5"/>
              </a:cxn>
              <a:cxn ang="T13">
                <a:pos x="T6" y="T7"/>
              </a:cxn>
              <a:cxn ang="T14">
                <a:pos x="T8" y="T9"/>
              </a:cxn>
            </a:cxnLst>
            <a:rect l="T15" t="T16" r="T17" b="T18"/>
            <a:pathLst>
              <a:path w="2427" h="2427">
                <a:moveTo>
                  <a:pt x="1213" y="0"/>
                </a:moveTo>
                <a:lnTo>
                  <a:pt x="2427" y="1214"/>
                </a:lnTo>
                <a:lnTo>
                  <a:pt x="1213" y="2427"/>
                </a:lnTo>
                <a:lnTo>
                  <a:pt x="0" y="1214"/>
                </a:lnTo>
                <a:lnTo>
                  <a:pt x="1213" y="0"/>
                </a:lnTo>
                <a:close/>
              </a:path>
            </a:pathLst>
          </a:custGeom>
          <a:solidFill>
            <a:schemeClr val="tx1">
              <a:lumMod val="65000"/>
              <a:lumOff val="35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20" name="Freeform 9"/>
          <p:cNvSpPr/>
          <p:nvPr/>
        </p:nvSpPr>
        <p:spPr bwMode="auto">
          <a:xfrm>
            <a:off x="4640099" y="2574685"/>
            <a:ext cx="1215742" cy="1214575"/>
          </a:xfrm>
          <a:custGeom>
            <a:avLst/>
            <a:gdLst>
              <a:gd name="T0" fmla="*/ 827201 w 2587"/>
              <a:gd name="T1" fmla="*/ 0 h 2586"/>
              <a:gd name="T2" fmla="*/ 1653762 w 2587"/>
              <a:gd name="T3" fmla="*/ 826257 h 2586"/>
              <a:gd name="T4" fmla="*/ 827201 w 2587"/>
              <a:gd name="T5" fmla="*/ 1652513 h 2586"/>
              <a:gd name="T6" fmla="*/ 0 w 2587"/>
              <a:gd name="T7" fmla="*/ 826257 h 2586"/>
              <a:gd name="T8" fmla="*/ 827201 w 2587"/>
              <a:gd name="T9" fmla="*/ 0 h 2586"/>
              <a:gd name="T10" fmla="*/ 0 60000 65536"/>
              <a:gd name="T11" fmla="*/ 0 60000 65536"/>
              <a:gd name="T12" fmla="*/ 0 60000 65536"/>
              <a:gd name="T13" fmla="*/ 0 60000 65536"/>
              <a:gd name="T14" fmla="*/ 0 60000 65536"/>
              <a:gd name="T15" fmla="*/ 0 w 2587"/>
              <a:gd name="T16" fmla="*/ 0 h 2586"/>
              <a:gd name="T17" fmla="*/ 2587 w 2587"/>
              <a:gd name="T18" fmla="*/ 2586 h 2586"/>
            </a:gdLst>
            <a:ahLst/>
            <a:cxnLst>
              <a:cxn ang="T10">
                <a:pos x="T0" y="T1"/>
              </a:cxn>
              <a:cxn ang="T11">
                <a:pos x="T2" y="T3"/>
              </a:cxn>
              <a:cxn ang="T12">
                <a:pos x="T4" y="T5"/>
              </a:cxn>
              <a:cxn ang="T13">
                <a:pos x="T6" y="T7"/>
              </a:cxn>
              <a:cxn ang="T14">
                <a:pos x="T8" y="T9"/>
              </a:cxn>
            </a:cxnLst>
            <a:rect l="T15" t="T16" r="T17" b="T18"/>
            <a:pathLst>
              <a:path w="2587" h="2586">
                <a:moveTo>
                  <a:pt x="1294" y="0"/>
                </a:moveTo>
                <a:lnTo>
                  <a:pt x="2587" y="1293"/>
                </a:lnTo>
                <a:lnTo>
                  <a:pt x="1294" y="2586"/>
                </a:lnTo>
                <a:lnTo>
                  <a:pt x="0" y="1293"/>
                </a:lnTo>
                <a:lnTo>
                  <a:pt x="1294" y="0"/>
                </a:lnTo>
                <a:close/>
              </a:path>
            </a:pathLst>
          </a:custGeom>
          <a:solidFill>
            <a:srgbClr val="2C53B6"/>
          </a:solidFill>
          <a:ln>
            <a:noFill/>
          </a:ln>
        </p:spPr>
        <p:txBody>
          <a:bodyPr lIns="67200" tIns="33600" rIns="67200" bIns="33600"/>
          <a:lstStyle/>
          <a:p>
            <a:endParaRPr lang="zh-CN" altLang="en-US" sz="975">
              <a:solidFill>
                <a:schemeClr val="bg1"/>
              </a:solidFill>
              <a:latin typeface="微软雅黑" panose="020B0503020204020204" pitchFamily="34" charset="-122"/>
              <a:ea typeface="微软雅黑" panose="020B0503020204020204" pitchFamily="34" charset="-122"/>
            </a:endParaRPr>
          </a:p>
        </p:txBody>
      </p:sp>
      <p:cxnSp>
        <p:nvCxnSpPr>
          <p:cNvPr id="21" name="直接连接符 20"/>
          <p:cNvCxnSpPr>
            <a:cxnSpLocks noChangeShapeType="1"/>
          </p:cNvCxnSpPr>
          <p:nvPr/>
        </p:nvCxnSpPr>
        <p:spPr bwMode="auto">
          <a:xfrm>
            <a:off x="5435812" y="2266664"/>
            <a:ext cx="2698668" cy="0"/>
          </a:xfrm>
          <a:prstGeom prst="line">
            <a:avLst/>
          </a:prstGeom>
          <a:noFill/>
          <a:ln w="9525" algn="ctr">
            <a:solidFill>
              <a:srgbClr val="2C53B6"/>
            </a:solidFill>
            <a:round/>
          </a:ln>
        </p:spPr>
      </p:cxnSp>
      <p:cxnSp>
        <p:nvCxnSpPr>
          <p:cNvPr id="22" name="直接连接符 21"/>
          <p:cNvCxnSpPr>
            <a:cxnSpLocks noChangeShapeType="1"/>
          </p:cNvCxnSpPr>
          <p:nvPr/>
        </p:nvCxnSpPr>
        <p:spPr bwMode="auto">
          <a:xfrm>
            <a:off x="5867508" y="3182554"/>
            <a:ext cx="2699834" cy="0"/>
          </a:xfrm>
          <a:prstGeom prst="line">
            <a:avLst/>
          </a:prstGeom>
          <a:noFill/>
          <a:ln w="9525" algn="ctr">
            <a:solidFill>
              <a:srgbClr val="2C53B6"/>
            </a:solidFill>
            <a:round/>
          </a:ln>
        </p:spPr>
      </p:cxnSp>
      <p:cxnSp>
        <p:nvCxnSpPr>
          <p:cNvPr id="23" name="直接连接符 22"/>
          <p:cNvCxnSpPr>
            <a:cxnSpLocks noChangeShapeType="1"/>
          </p:cNvCxnSpPr>
          <p:nvPr/>
        </p:nvCxnSpPr>
        <p:spPr bwMode="auto">
          <a:xfrm>
            <a:off x="5305138" y="3965436"/>
            <a:ext cx="2698668" cy="0"/>
          </a:xfrm>
          <a:prstGeom prst="line">
            <a:avLst/>
          </a:prstGeom>
          <a:noFill/>
          <a:ln w="9525" algn="ctr">
            <a:solidFill>
              <a:srgbClr val="2C53B6"/>
            </a:solidFill>
            <a:round/>
          </a:ln>
        </p:spPr>
      </p:cxnSp>
      <p:sp>
        <p:nvSpPr>
          <p:cNvPr id="24" name="TextBox 43"/>
          <p:cNvSpPr txBox="1"/>
          <p:nvPr/>
        </p:nvSpPr>
        <p:spPr>
          <a:xfrm>
            <a:off x="2699810" y="2761361"/>
            <a:ext cx="1226242" cy="305485"/>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545" dirty="0">
                <a:solidFill>
                  <a:schemeClr val="bg1"/>
                </a:solidFill>
                <a:latin typeface="微软雅黑" panose="020B0503020204020204" pitchFamily="34" charset="-122"/>
                <a:ea typeface="微软雅黑" panose="020B0503020204020204" pitchFamily="34" charset="-122"/>
              </a:rPr>
              <a:t>输入内容</a:t>
            </a:r>
            <a:endParaRPr lang="en-US" altLang="zh-CN" sz="1545" dirty="0">
              <a:solidFill>
                <a:schemeClr val="bg1"/>
              </a:solidFill>
              <a:latin typeface="微软雅黑" panose="020B0503020204020204" pitchFamily="34" charset="-122"/>
              <a:ea typeface="微软雅黑" panose="020B0503020204020204" pitchFamily="34" charset="-122"/>
            </a:endParaRPr>
          </a:p>
        </p:txBody>
      </p:sp>
      <p:sp>
        <p:nvSpPr>
          <p:cNvPr id="25" name="TextBox 44"/>
          <p:cNvSpPr txBox="1"/>
          <p:nvPr/>
        </p:nvSpPr>
        <p:spPr>
          <a:xfrm>
            <a:off x="2699810" y="3051880"/>
            <a:ext cx="1226242" cy="520288"/>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940" b="1" dirty="0">
                <a:solidFill>
                  <a:schemeClr val="bg1"/>
                </a:solidFill>
                <a:latin typeface="微软雅黑" panose="020B0503020204020204" pitchFamily="34" charset="-122"/>
                <a:ea typeface="微软雅黑" panose="020B0503020204020204" pitchFamily="34" charset="-122"/>
              </a:rPr>
              <a:t>45%</a:t>
            </a:r>
          </a:p>
        </p:txBody>
      </p:sp>
      <p:sp>
        <p:nvSpPr>
          <p:cNvPr id="26" name="TextBox 45"/>
          <p:cNvSpPr txBox="1"/>
          <p:nvPr/>
        </p:nvSpPr>
        <p:spPr>
          <a:xfrm>
            <a:off x="3984391" y="1901475"/>
            <a:ext cx="1226243" cy="294072"/>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470" dirty="0">
                <a:solidFill>
                  <a:srgbClr val="206DC1"/>
                </a:solidFill>
                <a:latin typeface="微软雅黑" panose="020B0503020204020204" pitchFamily="34" charset="-122"/>
                <a:ea typeface="微软雅黑" panose="020B0503020204020204" pitchFamily="34" charset="-122"/>
              </a:rPr>
              <a:t>输入内容</a:t>
            </a:r>
            <a:endParaRPr lang="en-US" altLang="zh-CN" sz="1470" dirty="0">
              <a:solidFill>
                <a:srgbClr val="206DC1"/>
              </a:solidFill>
              <a:latin typeface="微软雅黑" panose="020B0503020204020204" pitchFamily="34" charset="-122"/>
              <a:ea typeface="微软雅黑" panose="020B0503020204020204" pitchFamily="34" charset="-122"/>
            </a:endParaRPr>
          </a:p>
        </p:txBody>
      </p:sp>
      <p:sp>
        <p:nvSpPr>
          <p:cNvPr id="27" name="TextBox 46"/>
          <p:cNvSpPr txBox="1"/>
          <p:nvPr/>
        </p:nvSpPr>
        <p:spPr>
          <a:xfrm>
            <a:off x="3984391" y="2118489"/>
            <a:ext cx="1226243" cy="520288"/>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940" b="1" dirty="0">
                <a:solidFill>
                  <a:srgbClr val="206DC1"/>
                </a:solidFill>
                <a:latin typeface="微软雅黑" panose="020B0503020204020204" pitchFamily="34" charset="-122"/>
                <a:ea typeface="微软雅黑" panose="020B0503020204020204" pitchFamily="34" charset="-122"/>
              </a:rPr>
              <a:t>22%</a:t>
            </a:r>
          </a:p>
        </p:txBody>
      </p:sp>
      <p:sp>
        <p:nvSpPr>
          <p:cNvPr id="28" name="TextBox 47"/>
          <p:cNvSpPr txBox="1"/>
          <p:nvPr/>
        </p:nvSpPr>
        <p:spPr>
          <a:xfrm>
            <a:off x="3984391" y="3616581"/>
            <a:ext cx="1226243" cy="217897"/>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975" dirty="0">
                <a:solidFill>
                  <a:srgbClr val="206DC1"/>
                </a:solidFill>
                <a:latin typeface="微软雅黑" panose="020B0503020204020204" pitchFamily="34" charset="-122"/>
                <a:ea typeface="微软雅黑" panose="020B0503020204020204" pitchFamily="34" charset="-122"/>
              </a:rPr>
              <a:t>输入内容</a:t>
            </a:r>
            <a:endParaRPr lang="en-US" altLang="zh-CN" sz="975" dirty="0">
              <a:solidFill>
                <a:srgbClr val="206DC1"/>
              </a:solidFill>
              <a:latin typeface="微软雅黑" panose="020B0503020204020204" pitchFamily="34" charset="-122"/>
              <a:ea typeface="微软雅黑" panose="020B0503020204020204" pitchFamily="34" charset="-122"/>
            </a:endParaRPr>
          </a:p>
        </p:txBody>
      </p:sp>
      <p:sp>
        <p:nvSpPr>
          <p:cNvPr id="29" name="TextBox 48"/>
          <p:cNvSpPr txBox="1"/>
          <p:nvPr/>
        </p:nvSpPr>
        <p:spPr>
          <a:xfrm>
            <a:off x="3984391" y="3833595"/>
            <a:ext cx="1226243" cy="475019"/>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645" b="1" dirty="0">
                <a:solidFill>
                  <a:srgbClr val="206DC1"/>
                </a:solidFill>
                <a:latin typeface="微软雅黑" panose="020B0503020204020204" pitchFamily="34" charset="-122"/>
                <a:ea typeface="微软雅黑" panose="020B0503020204020204" pitchFamily="34" charset="-122"/>
              </a:rPr>
              <a:t>19%</a:t>
            </a:r>
          </a:p>
        </p:txBody>
      </p:sp>
      <p:sp>
        <p:nvSpPr>
          <p:cNvPr id="30" name="TextBox 49"/>
          <p:cNvSpPr txBox="1"/>
          <p:nvPr/>
        </p:nvSpPr>
        <p:spPr>
          <a:xfrm>
            <a:off x="4668100" y="2883779"/>
            <a:ext cx="1226243" cy="248803"/>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175" dirty="0">
                <a:solidFill>
                  <a:schemeClr val="bg1"/>
                </a:solidFill>
                <a:latin typeface="微软雅黑" panose="020B0503020204020204" pitchFamily="34" charset="-122"/>
                <a:ea typeface="微软雅黑" panose="020B0503020204020204" pitchFamily="34" charset="-122"/>
              </a:rPr>
              <a:t>输入内容</a:t>
            </a:r>
            <a:endParaRPr lang="en-US" altLang="zh-CN" sz="1175" dirty="0">
              <a:solidFill>
                <a:schemeClr val="bg1"/>
              </a:solidFill>
              <a:latin typeface="微软雅黑" panose="020B0503020204020204" pitchFamily="34" charset="-122"/>
              <a:ea typeface="微软雅黑" panose="020B0503020204020204" pitchFamily="34" charset="-122"/>
            </a:endParaRPr>
          </a:p>
        </p:txBody>
      </p:sp>
      <p:sp>
        <p:nvSpPr>
          <p:cNvPr id="31" name="TextBox 50"/>
          <p:cNvSpPr txBox="1"/>
          <p:nvPr/>
        </p:nvSpPr>
        <p:spPr>
          <a:xfrm>
            <a:off x="4636597" y="3071715"/>
            <a:ext cx="1226242" cy="395959"/>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130" b="1" dirty="0">
                <a:solidFill>
                  <a:schemeClr val="bg1"/>
                </a:solidFill>
                <a:latin typeface="微软雅黑" panose="020B0503020204020204" pitchFamily="34" charset="-122"/>
                <a:ea typeface="微软雅黑" panose="020B0503020204020204" pitchFamily="34" charset="-122"/>
              </a:rPr>
              <a:t>14%</a:t>
            </a:r>
          </a:p>
        </p:txBody>
      </p:sp>
      <p:sp>
        <p:nvSpPr>
          <p:cNvPr id="32" name="矩形 31"/>
          <p:cNvSpPr/>
          <p:nvPr/>
        </p:nvSpPr>
        <p:spPr>
          <a:xfrm>
            <a:off x="874428" y="3487264"/>
            <a:ext cx="1349334" cy="1327671"/>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文字点击输入</a:t>
            </a:r>
            <a:endParaRPr lang="zh-CN" altLang="en-US" sz="1030" dirty="0">
              <a:solidFill>
                <a:srgbClr val="206DC1"/>
              </a:solidFill>
              <a:latin typeface="方正细圆简体" pitchFamily="2" charset="-122"/>
              <a:ea typeface="方正细圆简体" pitchFamily="2" charset="-122"/>
            </a:endParaRPr>
          </a:p>
        </p:txBody>
      </p:sp>
      <p:sp>
        <p:nvSpPr>
          <p:cNvPr id="33" name="矩形 32"/>
          <p:cNvSpPr/>
          <p:nvPr/>
        </p:nvSpPr>
        <p:spPr>
          <a:xfrm>
            <a:off x="5477236" y="1786534"/>
            <a:ext cx="3007522" cy="484107"/>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a:t>
            </a:r>
            <a:endParaRPr lang="zh-CN" altLang="en-US" sz="1030" dirty="0">
              <a:solidFill>
                <a:srgbClr val="206DC1"/>
              </a:solidFill>
              <a:latin typeface="方正细圆简体" pitchFamily="2" charset="-122"/>
              <a:ea typeface="方正细圆简体" pitchFamily="2" charset="-122"/>
            </a:endParaRPr>
          </a:p>
        </p:txBody>
      </p:sp>
      <p:sp>
        <p:nvSpPr>
          <p:cNvPr id="34" name="矩形 33"/>
          <p:cNvSpPr/>
          <p:nvPr/>
        </p:nvSpPr>
        <p:spPr>
          <a:xfrm>
            <a:off x="5855840" y="2652745"/>
            <a:ext cx="2727085" cy="484107"/>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a:t>
            </a:r>
            <a:endParaRPr lang="zh-CN" altLang="en-US" sz="1030" dirty="0">
              <a:solidFill>
                <a:srgbClr val="206DC1"/>
              </a:solidFill>
              <a:latin typeface="方正细圆简体" pitchFamily="2" charset="-122"/>
              <a:ea typeface="方正细圆简体" pitchFamily="2" charset="-122"/>
            </a:endParaRPr>
          </a:p>
        </p:txBody>
      </p:sp>
      <p:sp>
        <p:nvSpPr>
          <p:cNvPr id="35" name="矩形 34"/>
          <p:cNvSpPr/>
          <p:nvPr/>
        </p:nvSpPr>
        <p:spPr>
          <a:xfrm>
            <a:off x="5590758" y="3434552"/>
            <a:ext cx="2682310" cy="484107"/>
          </a:xfrm>
          <a:prstGeom prst="rect">
            <a:avLst/>
          </a:prstGeom>
        </p:spPr>
        <p:txBody>
          <a:bodyPr wrap="square">
            <a:spAutoFit/>
          </a:bodyPr>
          <a:lstStyle/>
          <a:p>
            <a:pPr>
              <a:lnSpc>
                <a:spcPct val="130000"/>
              </a:lnSpc>
            </a:pPr>
            <a:r>
              <a:rPr lang="zh-CN" altLang="en-US" sz="1030"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a:t>
            </a:r>
            <a:endParaRPr lang="zh-CN" altLang="en-US" sz="1030" dirty="0">
              <a:solidFill>
                <a:srgbClr val="206DC1"/>
              </a:solidFill>
              <a:latin typeface="方正细圆简体" pitchFamily="2" charset="-122"/>
              <a:ea typeface="方正细圆简体" pitchFamily="2" charset="-122"/>
            </a:endParaRPr>
          </a:p>
        </p:txBody>
      </p:sp>
      <p:sp>
        <p:nvSpPr>
          <p:cNvPr id="36" name="Freeform 6"/>
          <p:cNvSpPr/>
          <p:nvPr/>
        </p:nvSpPr>
        <p:spPr bwMode="auto">
          <a:xfrm>
            <a:off x="848113" y="730677"/>
            <a:ext cx="2412816" cy="2412816"/>
          </a:xfrm>
          <a:custGeom>
            <a:avLst/>
            <a:gdLst>
              <a:gd name="T0" fmla="*/ 1641475 w 4042"/>
              <a:gd name="T1" fmla="*/ 0 h 4042"/>
              <a:gd name="T2" fmla="*/ 3282950 w 4042"/>
              <a:gd name="T3" fmla="*/ 1641476 h 4042"/>
              <a:gd name="T4" fmla="*/ 1641475 w 4042"/>
              <a:gd name="T5" fmla="*/ 3282951 h 4042"/>
              <a:gd name="T6" fmla="*/ 0 w 4042"/>
              <a:gd name="T7" fmla="*/ 1641476 h 4042"/>
              <a:gd name="T8" fmla="*/ 1641475 w 4042"/>
              <a:gd name="T9" fmla="*/ 0 h 4042"/>
              <a:gd name="T10" fmla="*/ 0 60000 65536"/>
              <a:gd name="T11" fmla="*/ 0 60000 65536"/>
              <a:gd name="T12" fmla="*/ 0 60000 65536"/>
              <a:gd name="T13" fmla="*/ 0 60000 65536"/>
              <a:gd name="T14" fmla="*/ 0 60000 65536"/>
              <a:gd name="T15" fmla="*/ 0 w 4042"/>
              <a:gd name="T16" fmla="*/ 0 h 4042"/>
              <a:gd name="T17" fmla="*/ 4042 w 4042"/>
              <a:gd name="T18" fmla="*/ 4042 h 4042"/>
            </a:gdLst>
            <a:ahLst/>
            <a:cxnLst>
              <a:cxn ang="T10">
                <a:pos x="T0" y="T1"/>
              </a:cxn>
              <a:cxn ang="T11">
                <a:pos x="T2" y="T3"/>
              </a:cxn>
              <a:cxn ang="T12">
                <a:pos x="T4" y="T5"/>
              </a:cxn>
              <a:cxn ang="T13">
                <a:pos x="T6" y="T7"/>
              </a:cxn>
              <a:cxn ang="T14">
                <a:pos x="T8" y="T9"/>
              </a:cxn>
            </a:cxnLst>
            <a:rect l="T15" t="T16" r="T17" b="T18"/>
            <a:pathLst>
              <a:path w="4042" h="4042">
                <a:moveTo>
                  <a:pt x="2021" y="0"/>
                </a:moveTo>
                <a:lnTo>
                  <a:pt x="4042" y="2021"/>
                </a:lnTo>
                <a:lnTo>
                  <a:pt x="2021" y="4042"/>
                </a:lnTo>
                <a:lnTo>
                  <a:pt x="0" y="2021"/>
                </a:lnTo>
                <a:lnTo>
                  <a:pt x="2021" y="0"/>
                </a:lnTo>
                <a:close/>
              </a:path>
            </a:pathLst>
          </a:custGeom>
          <a:blipFill dpi="0" rotWithShape="1">
            <a:blip r:embed="rId3"/>
            <a:srcRect/>
            <a:stretch>
              <a:fillRect/>
            </a:stretch>
          </a:blipFill>
          <a:ln>
            <a:noFill/>
          </a:ln>
        </p:spPr>
        <p:txBody>
          <a:bodyPr lIns="67200" tIns="33600" rIns="67200" bIns="33600"/>
          <a:lstStyle/>
          <a:p>
            <a:endParaRPr lang="zh-CN" altLang="en-US" sz="975">
              <a:solidFill>
                <a:srgbClr val="206DC1"/>
              </a:solidFill>
              <a:latin typeface="微软雅黑" panose="020B0503020204020204" pitchFamily="34" charset="-122"/>
              <a:ea typeface="微软雅黑" panose="020B0503020204020204" pitchFamily="34" charset="-122"/>
            </a:endParaRPr>
          </a:p>
        </p:txBody>
      </p:sp>
      <p:sp>
        <p:nvSpPr>
          <p:cNvPr id="37"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8" name="矩形 37"/>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Click="0" advTm="9282">
        <p14:ferris dir="l"/>
      </p:transition>
    </mc:Choice>
    <mc:Fallback xmlns="">
      <p:transition spd="slow" advClick="0" advTm="928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500" fill="hold"/>
                                        <p:tgtEl>
                                          <p:spTgt spid="16"/>
                                        </p:tgtEl>
                                        <p:attrNameLst>
                                          <p:attrName>ppt_x</p:attrName>
                                        </p:attrNameLst>
                                      </p:cBhvr>
                                      <p:tavLst>
                                        <p:tav tm="0">
                                          <p:val>
                                            <p:strVal val="0-#ppt_w/2"/>
                                          </p:val>
                                        </p:tav>
                                        <p:tav tm="100000">
                                          <p:val>
                                            <p:strVal val="#ppt_x"/>
                                          </p:val>
                                        </p:tav>
                                      </p:tavLst>
                                    </p:anim>
                                    <p:anim calcmode="lin" valueType="num">
                                      <p:cBhvr additive="base">
                                        <p:cTn id="13" dur="500" fill="hold"/>
                                        <p:tgtEl>
                                          <p:spTgt spid="16"/>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500" fill="hold"/>
                                        <p:tgtEl>
                                          <p:spTgt spid="20"/>
                                        </p:tgtEl>
                                        <p:attrNameLst>
                                          <p:attrName>ppt_x</p:attrName>
                                        </p:attrNameLst>
                                      </p:cBhvr>
                                      <p:tavLst>
                                        <p:tav tm="0">
                                          <p:val>
                                            <p:strVal val="1+#ppt_w/2"/>
                                          </p:val>
                                        </p:tav>
                                        <p:tav tm="100000">
                                          <p:val>
                                            <p:strVal val="#ppt_x"/>
                                          </p:val>
                                        </p:tav>
                                      </p:tavLst>
                                    </p:anim>
                                    <p:anim calcmode="lin" valueType="num">
                                      <p:cBhvr additive="base">
                                        <p:cTn id="17" dur="500" fill="hold"/>
                                        <p:tgtEl>
                                          <p:spTgt spid="20"/>
                                        </p:tgtEl>
                                        <p:attrNameLst>
                                          <p:attrName>ppt_y</p:attrName>
                                        </p:attrNameLst>
                                      </p:cBhvr>
                                      <p:tavLst>
                                        <p:tav tm="0">
                                          <p:val>
                                            <p:strVal val="#ppt_y"/>
                                          </p:val>
                                        </p:tav>
                                        <p:tav tm="100000">
                                          <p:val>
                                            <p:strVal val="#ppt_y"/>
                                          </p:val>
                                        </p:tav>
                                      </p:tavLst>
                                    </p:anim>
                                  </p:childTnLst>
                                </p:cTn>
                              </p:par>
                            </p:childTnLst>
                          </p:cTn>
                        </p:par>
                        <p:par>
                          <p:cTn id="18" fill="hold">
                            <p:stCondLst>
                              <p:cond delay="1000"/>
                            </p:stCondLst>
                            <p:childTnLst>
                              <p:par>
                                <p:cTn id="19" presetID="2" presetClass="entr" presetSubtype="1"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0-#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par>
                          <p:cTn id="27" fill="hold">
                            <p:stCondLst>
                              <p:cond delay="1500"/>
                            </p:stCondLst>
                            <p:childTnLst>
                              <p:par>
                                <p:cTn id="28" presetID="31" presetClass="entr" presetSubtype="0" fill="hold" grpId="0" nodeType="afterEffect">
                                  <p:stCondLst>
                                    <p:cond delay="0"/>
                                  </p:stCondLst>
                                  <p:childTnLst>
                                    <p:set>
                                      <p:cBhvr>
                                        <p:cTn id="29" dur="1" fill="hold">
                                          <p:stCondLst>
                                            <p:cond delay="0"/>
                                          </p:stCondLst>
                                        </p:cTn>
                                        <p:tgtEl>
                                          <p:spTgt spid="24"/>
                                        </p:tgtEl>
                                        <p:attrNameLst>
                                          <p:attrName>style.visibility</p:attrName>
                                        </p:attrNameLst>
                                      </p:cBhvr>
                                      <p:to>
                                        <p:strVal val="visible"/>
                                      </p:to>
                                    </p:set>
                                    <p:anim calcmode="lin" valueType="num">
                                      <p:cBhvr>
                                        <p:cTn id="30" dur="500" fill="hold"/>
                                        <p:tgtEl>
                                          <p:spTgt spid="24"/>
                                        </p:tgtEl>
                                        <p:attrNameLst>
                                          <p:attrName>ppt_w</p:attrName>
                                        </p:attrNameLst>
                                      </p:cBhvr>
                                      <p:tavLst>
                                        <p:tav tm="0">
                                          <p:val>
                                            <p:fltVal val="0"/>
                                          </p:val>
                                        </p:tav>
                                        <p:tav tm="100000">
                                          <p:val>
                                            <p:strVal val="#ppt_w"/>
                                          </p:val>
                                        </p:tav>
                                      </p:tavLst>
                                    </p:anim>
                                    <p:anim calcmode="lin" valueType="num">
                                      <p:cBhvr>
                                        <p:cTn id="31" dur="500" fill="hold"/>
                                        <p:tgtEl>
                                          <p:spTgt spid="24"/>
                                        </p:tgtEl>
                                        <p:attrNameLst>
                                          <p:attrName>ppt_h</p:attrName>
                                        </p:attrNameLst>
                                      </p:cBhvr>
                                      <p:tavLst>
                                        <p:tav tm="0">
                                          <p:val>
                                            <p:fltVal val="0"/>
                                          </p:val>
                                        </p:tav>
                                        <p:tav tm="100000">
                                          <p:val>
                                            <p:strVal val="#ppt_h"/>
                                          </p:val>
                                        </p:tav>
                                      </p:tavLst>
                                    </p:anim>
                                    <p:anim calcmode="lin" valueType="num">
                                      <p:cBhvr>
                                        <p:cTn id="32" dur="500" fill="hold"/>
                                        <p:tgtEl>
                                          <p:spTgt spid="24"/>
                                        </p:tgtEl>
                                        <p:attrNameLst>
                                          <p:attrName>style.rotation</p:attrName>
                                        </p:attrNameLst>
                                      </p:cBhvr>
                                      <p:tavLst>
                                        <p:tav tm="0">
                                          <p:val>
                                            <p:fltVal val="90"/>
                                          </p:val>
                                        </p:tav>
                                        <p:tav tm="100000">
                                          <p:val>
                                            <p:fltVal val="0"/>
                                          </p:val>
                                        </p:tav>
                                      </p:tavLst>
                                    </p:anim>
                                    <p:animEffect transition="in" filter="fade">
                                      <p:cBhvr>
                                        <p:cTn id="33" dur="500"/>
                                        <p:tgtEl>
                                          <p:spTgt spid="24"/>
                                        </p:tgtEl>
                                      </p:cBhvr>
                                    </p:animEffect>
                                  </p:childTnLst>
                                </p:cTn>
                              </p:par>
                              <p:par>
                                <p:cTn id="34" presetID="31"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fltVal val="0"/>
                                          </p:val>
                                        </p:tav>
                                        <p:tav tm="100000">
                                          <p:val>
                                            <p:strVal val="#ppt_w"/>
                                          </p:val>
                                        </p:tav>
                                      </p:tavLst>
                                    </p:anim>
                                    <p:anim calcmode="lin" valueType="num">
                                      <p:cBhvr>
                                        <p:cTn id="37" dur="500" fill="hold"/>
                                        <p:tgtEl>
                                          <p:spTgt spid="25"/>
                                        </p:tgtEl>
                                        <p:attrNameLst>
                                          <p:attrName>ppt_h</p:attrName>
                                        </p:attrNameLst>
                                      </p:cBhvr>
                                      <p:tavLst>
                                        <p:tav tm="0">
                                          <p:val>
                                            <p:fltVal val="0"/>
                                          </p:val>
                                        </p:tav>
                                        <p:tav tm="100000">
                                          <p:val>
                                            <p:strVal val="#ppt_h"/>
                                          </p:val>
                                        </p:tav>
                                      </p:tavLst>
                                    </p:anim>
                                    <p:anim calcmode="lin" valueType="num">
                                      <p:cBhvr>
                                        <p:cTn id="38" dur="500" fill="hold"/>
                                        <p:tgtEl>
                                          <p:spTgt spid="25"/>
                                        </p:tgtEl>
                                        <p:attrNameLst>
                                          <p:attrName>style.rotation</p:attrName>
                                        </p:attrNameLst>
                                      </p:cBhvr>
                                      <p:tavLst>
                                        <p:tav tm="0">
                                          <p:val>
                                            <p:fltVal val="90"/>
                                          </p:val>
                                        </p:tav>
                                        <p:tav tm="100000">
                                          <p:val>
                                            <p:fltVal val="0"/>
                                          </p:val>
                                        </p:tav>
                                      </p:tavLst>
                                    </p:anim>
                                    <p:animEffect transition="in" filter="fade">
                                      <p:cBhvr>
                                        <p:cTn id="39" dur="500"/>
                                        <p:tgtEl>
                                          <p:spTgt spid="2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 calcmode="lin" valueType="num">
                                      <p:cBhvr>
                                        <p:cTn id="44" dur="500" fill="hold"/>
                                        <p:tgtEl>
                                          <p:spTgt spid="26"/>
                                        </p:tgtEl>
                                        <p:attrNameLst>
                                          <p:attrName>style.rotation</p:attrName>
                                        </p:attrNameLst>
                                      </p:cBhvr>
                                      <p:tavLst>
                                        <p:tav tm="0">
                                          <p:val>
                                            <p:fltVal val="90"/>
                                          </p:val>
                                        </p:tav>
                                        <p:tav tm="100000">
                                          <p:val>
                                            <p:fltVal val="0"/>
                                          </p:val>
                                        </p:tav>
                                      </p:tavLst>
                                    </p:anim>
                                    <p:animEffect transition="in" filter="fade">
                                      <p:cBhvr>
                                        <p:cTn id="45" dur="500"/>
                                        <p:tgtEl>
                                          <p:spTgt spid="2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 calcmode="lin" valueType="num">
                                      <p:cBhvr>
                                        <p:cTn id="48" dur="500" fill="hold"/>
                                        <p:tgtEl>
                                          <p:spTgt spid="27"/>
                                        </p:tgtEl>
                                        <p:attrNameLst>
                                          <p:attrName>ppt_w</p:attrName>
                                        </p:attrNameLst>
                                      </p:cBhvr>
                                      <p:tavLst>
                                        <p:tav tm="0">
                                          <p:val>
                                            <p:fltVal val="0"/>
                                          </p:val>
                                        </p:tav>
                                        <p:tav tm="100000">
                                          <p:val>
                                            <p:strVal val="#ppt_w"/>
                                          </p:val>
                                        </p:tav>
                                      </p:tavLst>
                                    </p:anim>
                                    <p:anim calcmode="lin" valueType="num">
                                      <p:cBhvr>
                                        <p:cTn id="49" dur="500" fill="hold"/>
                                        <p:tgtEl>
                                          <p:spTgt spid="27"/>
                                        </p:tgtEl>
                                        <p:attrNameLst>
                                          <p:attrName>ppt_h</p:attrName>
                                        </p:attrNameLst>
                                      </p:cBhvr>
                                      <p:tavLst>
                                        <p:tav tm="0">
                                          <p:val>
                                            <p:fltVal val="0"/>
                                          </p:val>
                                        </p:tav>
                                        <p:tav tm="100000">
                                          <p:val>
                                            <p:strVal val="#ppt_h"/>
                                          </p:val>
                                        </p:tav>
                                      </p:tavLst>
                                    </p:anim>
                                    <p:anim calcmode="lin" valueType="num">
                                      <p:cBhvr>
                                        <p:cTn id="50" dur="500" fill="hold"/>
                                        <p:tgtEl>
                                          <p:spTgt spid="27"/>
                                        </p:tgtEl>
                                        <p:attrNameLst>
                                          <p:attrName>style.rotation</p:attrName>
                                        </p:attrNameLst>
                                      </p:cBhvr>
                                      <p:tavLst>
                                        <p:tav tm="0">
                                          <p:val>
                                            <p:fltVal val="90"/>
                                          </p:val>
                                        </p:tav>
                                        <p:tav tm="100000">
                                          <p:val>
                                            <p:fltVal val="0"/>
                                          </p:val>
                                        </p:tav>
                                      </p:tavLst>
                                    </p:anim>
                                    <p:animEffect transition="in" filter="fade">
                                      <p:cBhvr>
                                        <p:cTn id="51" dur="500"/>
                                        <p:tgtEl>
                                          <p:spTgt spid="27"/>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p:cTn id="54" dur="500" fill="hold"/>
                                        <p:tgtEl>
                                          <p:spTgt spid="30"/>
                                        </p:tgtEl>
                                        <p:attrNameLst>
                                          <p:attrName>ppt_w</p:attrName>
                                        </p:attrNameLst>
                                      </p:cBhvr>
                                      <p:tavLst>
                                        <p:tav tm="0">
                                          <p:val>
                                            <p:fltVal val="0"/>
                                          </p:val>
                                        </p:tav>
                                        <p:tav tm="100000">
                                          <p:val>
                                            <p:strVal val="#ppt_w"/>
                                          </p:val>
                                        </p:tav>
                                      </p:tavLst>
                                    </p:anim>
                                    <p:anim calcmode="lin" valueType="num">
                                      <p:cBhvr>
                                        <p:cTn id="55" dur="500" fill="hold"/>
                                        <p:tgtEl>
                                          <p:spTgt spid="30"/>
                                        </p:tgtEl>
                                        <p:attrNameLst>
                                          <p:attrName>ppt_h</p:attrName>
                                        </p:attrNameLst>
                                      </p:cBhvr>
                                      <p:tavLst>
                                        <p:tav tm="0">
                                          <p:val>
                                            <p:fltVal val="0"/>
                                          </p:val>
                                        </p:tav>
                                        <p:tav tm="100000">
                                          <p:val>
                                            <p:strVal val="#ppt_h"/>
                                          </p:val>
                                        </p:tav>
                                      </p:tavLst>
                                    </p:anim>
                                    <p:anim calcmode="lin" valueType="num">
                                      <p:cBhvr>
                                        <p:cTn id="56" dur="500" fill="hold"/>
                                        <p:tgtEl>
                                          <p:spTgt spid="30"/>
                                        </p:tgtEl>
                                        <p:attrNameLst>
                                          <p:attrName>style.rotation</p:attrName>
                                        </p:attrNameLst>
                                      </p:cBhvr>
                                      <p:tavLst>
                                        <p:tav tm="0">
                                          <p:val>
                                            <p:fltVal val="90"/>
                                          </p:val>
                                        </p:tav>
                                        <p:tav tm="100000">
                                          <p:val>
                                            <p:fltVal val="0"/>
                                          </p:val>
                                        </p:tav>
                                      </p:tavLst>
                                    </p:anim>
                                    <p:animEffect transition="in" filter="fade">
                                      <p:cBhvr>
                                        <p:cTn id="57" dur="500"/>
                                        <p:tgtEl>
                                          <p:spTgt spid="30"/>
                                        </p:tgtEl>
                                      </p:cBhvr>
                                    </p:animEffect>
                                  </p:childTnLst>
                                </p:cTn>
                              </p:par>
                              <p:par>
                                <p:cTn id="58" presetID="31" presetClass="entr" presetSubtype="0" fill="hold" grpId="0" nodeType="withEffect">
                                  <p:stCondLst>
                                    <p:cond delay="0"/>
                                  </p:stCondLst>
                                  <p:childTnLst>
                                    <p:set>
                                      <p:cBhvr>
                                        <p:cTn id="59" dur="1" fill="hold">
                                          <p:stCondLst>
                                            <p:cond delay="0"/>
                                          </p:stCondLst>
                                        </p:cTn>
                                        <p:tgtEl>
                                          <p:spTgt spid="31"/>
                                        </p:tgtEl>
                                        <p:attrNameLst>
                                          <p:attrName>style.visibility</p:attrName>
                                        </p:attrNameLst>
                                      </p:cBhvr>
                                      <p:to>
                                        <p:strVal val="visible"/>
                                      </p:to>
                                    </p:set>
                                    <p:anim calcmode="lin" valueType="num">
                                      <p:cBhvr>
                                        <p:cTn id="60" dur="500" fill="hold"/>
                                        <p:tgtEl>
                                          <p:spTgt spid="31"/>
                                        </p:tgtEl>
                                        <p:attrNameLst>
                                          <p:attrName>ppt_w</p:attrName>
                                        </p:attrNameLst>
                                      </p:cBhvr>
                                      <p:tavLst>
                                        <p:tav tm="0">
                                          <p:val>
                                            <p:fltVal val="0"/>
                                          </p:val>
                                        </p:tav>
                                        <p:tav tm="100000">
                                          <p:val>
                                            <p:strVal val="#ppt_w"/>
                                          </p:val>
                                        </p:tav>
                                      </p:tavLst>
                                    </p:anim>
                                    <p:anim calcmode="lin" valueType="num">
                                      <p:cBhvr>
                                        <p:cTn id="61" dur="500" fill="hold"/>
                                        <p:tgtEl>
                                          <p:spTgt spid="31"/>
                                        </p:tgtEl>
                                        <p:attrNameLst>
                                          <p:attrName>ppt_h</p:attrName>
                                        </p:attrNameLst>
                                      </p:cBhvr>
                                      <p:tavLst>
                                        <p:tav tm="0">
                                          <p:val>
                                            <p:fltVal val="0"/>
                                          </p:val>
                                        </p:tav>
                                        <p:tav tm="100000">
                                          <p:val>
                                            <p:strVal val="#ppt_h"/>
                                          </p:val>
                                        </p:tav>
                                      </p:tavLst>
                                    </p:anim>
                                    <p:anim calcmode="lin" valueType="num">
                                      <p:cBhvr>
                                        <p:cTn id="62" dur="500" fill="hold"/>
                                        <p:tgtEl>
                                          <p:spTgt spid="31"/>
                                        </p:tgtEl>
                                        <p:attrNameLst>
                                          <p:attrName>style.rotation</p:attrName>
                                        </p:attrNameLst>
                                      </p:cBhvr>
                                      <p:tavLst>
                                        <p:tav tm="0">
                                          <p:val>
                                            <p:fltVal val="90"/>
                                          </p:val>
                                        </p:tav>
                                        <p:tav tm="100000">
                                          <p:val>
                                            <p:fltVal val="0"/>
                                          </p:val>
                                        </p:tav>
                                      </p:tavLst>
                                    </p:anim>
                                    <p:animEffect transition="in" filter="fade">
                                      <p:cBhvr>
                                        <p:cTn id="63" dur="500"/>
                                        <p:tgtEl>
                                          <p:spTgt spid="31"/>
                                        </p:tgtEl>
                                      </p:cBhvr>
                                    </p:animEffect>
                                  </p:childTnLst>
                                </p:cTn>
                              </p:par>
                              <p:par>
                                <p:cTn id="64" presetID="31" presetClass="entr" presetSubtype="0" fill="hold" grpId="0" nodeType="withEffect">
                                  <p:stCondLst>
                                    <p:cond delay="0"/>
                                  </p:stCondLst>
                                  <p:childTnLst>
                                    <p:set>
                                      <p:cBhvr>
                                        <p:cTn id="65" dur="1" fill="hold">
                                          <p:stCondLst>
                                            <p:cond delay="0"/>
                                          </p:stCondLst>
                                        </p:cTn>
                                        <p:tgtEl>
                                          <p:spTgt spid="28"/>
                                        </p:tgtEl>
                                        <p:attrNameLst>
                                          <p:attrName>style.visibility</p:attrName>
                                        </p:attrNameLst>
                                      </p:cBhvr>
                                      <p:to>
                                        <p:strVal val="visible"/>
                                      </p:to>
                                    </p:set>
                                    <p:anim calcmode="lin" valueType="num">
                                      <p:cBhvr>
                                        <p:cTn id="66" dur="500" fill="hold"/>
                                        <p:tgtEl>
                                          <p:spTgt spid="28"/>
                                        </p:tgtEl>
                                        <p:attrNameLst>
                                          <p:attrName>ppt_w</p:attrName>
                                        </p:attrNameLst>
                                      </p:cBhvr>
                                      <p:tavLst>
                                        <p:tav tm="0">
                                          <p:val>
                                            <p:fltVal val="0"/>
                                          </p:val>
                                        </p:tav>
                                        <p:tav tm="100000">
                                          <p:val>
                                            <p:strVal val="#ppt_w"/>
                                          </p:val>
                                        </p:tav>
                                      </p:tavLst>
                                    </p:anim>
                                    <p:anim calcmode="lin" valueType="num">
                                      <p:cBhvr>
                                        <p:cTn id="67" dur="500" fill="hold"/>
                                        <p:tgtEl>
                                          <p:spTgt spid="28"/>
                                        </p:tgtEl>
                                        <p:attrNameLst>
                                          <p:attrName>ppt_h</p:attrName>
                                        </p:attrNameLst>
                                      </p:cBhvr>
                                      <p:tavLst>
                                        <p:tav tm="0">
                                          <p:val>
                                            <p:fltVal val="0"/>
                                          </p:val>
                                        </p:tav>
                                        <p:tav tm="100000">
                                          <p:val>
                                            <p:strVal val="#ppt_h"/>
                                          </p:val>
                                        </p:tav>
                                      </p:tavLst>
                                    </p:anim>
                                    <p:anim calcmode="lin" valueType="num">
                                      <p:cBhvr>
                                        <p:cTn id="68" dur="500" fill="hold"/>
                                        <p:tgtEl>
                                          <p:spTgt spid="28"/>
                                        </p:tgtEl>
                                        <p:attrNameLst>
                                          <p:attrName>style.rotation</p:attrName>
                                        </p:attrNameLst>
                                      </p:cBhvr>
                                      <p:tavLst>
                                        <p:tav tm="0">
                                          <p:val>
                                            <p:fltVal val="90"/>
                                          </p:val>
                                        </p:tav>
                                        <p:tav tm="100000">
                                          <p:val>
                                            <p:fltVal val="0"/>
                                          </p:val>
                                        </p:tav>
                                      </p:tavLst>
                                    </p:anim>
                                    <p:animEffect transition="in" filter="fade">
                                      <p:cBhvr>
                                        <p:cTn id="69" dur="500"/>
                                        <p:tgtEl>
                                          <p:spTgt spid="28"/>
                                        </p:tgtEl>
                                      </p:cBhvr>
                                    </p:animEffect>
                                  </p:childTnLst>
                                </p:cTn>
                              </p:par>
                              <p:par>
                                <p:cTn id="70" presetID="31" presetClass="entr" presetSubtype="0" fill="hold" grpId="0" nodeType="withEffect">
                                  <p:stCondLst>
                                    <p:cond delay="0"/>
                                  </p:stCondLst>
                                  <p:childTnLst>
                                    <p:set>
                                      <p:cBhvr>
                                        <p:cTn id="71" dur="1" fill="hold">
                                          <p:stCondLst>
                                            <p:cond delay="0"/>
                                          </p:stCondLst>
                                        </p:cTn>
                                        <p:tgtEl>
                                          <p:spTgt spid="29"/>
                                        </p:tgtEl>
                                        <p:attrNameLst>
                                          <p:attrName>style.visibility</p:attrName>
                                        </p:attrNameLst>
                                      </p:cBhvr>
                                      <p:to>
                                        <p:strVal val="visible"/>
                                      </p:to>
                                    </p:set>
                                    <p:anim calcmode="lin" valueType="num">
                                      <p:cBhvr>
                                        <p:cTn id="72" dur="500" fill="hold"/>
                                        <p:tgtEl>
                                          <p:spTgt spid="29"/>
                                        </p:tgtEl>
                                        <p:attrNameLst>
                                          <p:attrName>ppt_w</p:attrName>
                                        </p:attrNameLst>
                                      </p:cBhvr>
                                      <p:tavLst>
                                        <p:tav tm="0">
                                          <p:val>
                                            <p:fltVal val="0"/>
                                          </p:val>
                                        </p:tav>
                                        <p:tav tm="100000">
                                          <p:val>
                                            <p:strVal val="#ppt_w"/>
                                          </p:val>
                                        </p:tav>
                                      </p:tavLst>
                                    </p:anim>
                                    <p:anim calcmode="lin" valueType="num">
                                      <p:cBhvr>
                                        <p:cTn id="73" dur="500" fill="hold"/>
                                        <p:tgtEl>
                                          <p:spTgt spid="29"/>
                                        </p:tgtEl>
                                        <p:attrNameLst>
                                          <p:attrName>ppt_h</p:attrName>
                                        </p:attrNameLst>
                                      </p:cBhvr>
                                      <p:tavLst>
                                        <p:tav tm="0">
                                          <p:val>
                                            <p:fltVal val="0"/>
                                          </p:val>
                                        </p:tav>
                                        <p:tav tm="100000">
                                          <p:val>
                                            <p:strVal val="#ppt_h"/>
                                          </p:val>
                                        </p:tav>
                                      </p:tavLst>
                                    </p:anim>
                                    <p:anim calcmode="lin" valueType="num">
                                      <p:cBhvr>
                                        <p:cTn id="74" dur="500" fill="hold"/>
                                        <p:tgtEl>
                                          <p:spTgt spid="29"/>
                                        </p:tgtEl>
                                        <p:attrNameLst>
                                          <p:attrName>style.rotation</p:attrName>
                                        </p:attrNameLst>
                                      </p:cBhvr>
                                      <p:tavLst>
                                        <p:tav tm="0">
                                          <p:val>
                                            <p:fltVal val="90"/>
                                          </p:val>
                                        </p:tav>
                                        <p:tav tm="100000">
                                          <p:val>
                                            <p:fltVal val="0"/>
                                          </p:val>
                                        </p:tav>
                                      </p:tavLst>
                                    </p:anim>
                                    <p:animEffect transition="in" filter="fade">
                                      <p:cBhvr>
                                        <p:cTn id="75" dur="500"/>
                                        <p:tgtEl>
                                          <p:spTgt spid="29"/>
                                        </p:tgtEl>
                                      </p:cBhvr>
                                    </p:animEffect>
                                  </p:childTnLst>
                                </p:cTn>
                              </p:par>
                            </p:childTnLst>
                          </p:cTn>
                        </p:par>
                        <p:par>
                          <p:cTn id="76" fill="hold">
                            <p:stCondLst>
                              <p:cond delay="2000"/>
                            </p:stCondLst>
                            <p:childTnLst>
                              <p:par>
                                <p:cTn id="77" presetID="22" presetClass="entr" presetSubtype="8" fill="hold"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wipe(left)">
                                      <p:cBhvr>
                                        <p:cTn id="79" dur="500"/>
                                        <p:tgtEl>
                                          <p:spTgt spid="21"/>
                                        </p:tgtEl>
                                      </p:cBhvr>
                                    </p:animEffect>
                                  </p:childTnLst>
                                </p:cTn>
                              </p:par>
                              <p:par>
                                <p:cTn id="80" presetID="22" presetClass="entr" presetSubtype="8" fill="hold" nodeType="withEffect">
                                  <p:stCondLst>
                                    <p:cond delay="0"/>
                                  </p:stCondLst>
                                  <p:childTnLst>
                                    <p:set>
                                      <p:cBhvr>
                                        <p:cTn id="81" dur="1" fill="hold">
                                          <p:stCondLst>
                                            <p:cond delay="0"/>
                                          </p:stCondLst>
                                        </p:cTn>
                                        <p:tgtEl>
                                          <p:spTgt spid="22"/>
                                        </p:tgtEl>
                                        <p:attrNameLst>
                                          <p:attrName>style.visibility</p:attrName>
                                        </p:attrNameLst>
                                      </p:cBhvr>
                                      <p:to>
                                        <p:strVal val="visible"/>
                                      </p:to>
                                    </p:set>
                                    <p:animEffect transition="in" filter="wipe(left)">
                                      <p:cBhvr>
                                        <p:cTn id="82" dur="500"/>
                                        <p:tgtEl>
                                          <p:spTgt spid="22"/>
                                        </p:tgtEl>
                                      </p:cBhvr>
                                    </p:animEffect>
                                  </p:childTnLst>
                                </p:cTn>
                              </p:par>
                              <p:par>
                                <p:cTn id="83" presetID="22" presetClass="entr" presetSubtype="8" fill="hold" nodeType="with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wipe(left)">
                                      <p:cBhvr>
                                        <p:cTn id="85" dur="500"/>
                                        <p:tgtEl>
                                          <p:spTgt spid="23"/>
                                        </p:tgtEl>
                                      </p:cBhvr>
                                    </p:animEffect>
                                  </p:childTnLst>
                                </p:cTn>
                              </p:par>
                            </p:childTnLst>
                          </p:cTn>
                        </p:par>
                        <p:par>
                          <p:cTn id="86" fill="hold">
                            <p:stCondLst>
                              <p:cond delay="2500"/>
                            </p:stCondLst>
                            <p:childTnLst>
                              <p:par>
                                <p:cTn id="87" presetID="14" presetClass="entr" presetSubtype="10" fill="hold" grpId="0" nodeType="after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randombar(horizontal)">
                                      <p:cBhvr>
                                        <p:cTn id="89" dur="500"/>
                                        <p:tgtEl>
                                          <p:spTgt spid="32"/>
                                        </p:tgtEl>
                                      </p:cBhvr>
                                    </p:animEffect>
                                  </p:childTnLst>
                                </p:cTn>
                              </p:par>
                            </p:childTnLst>
                          </p:cTn>
                        </p:par>
                        <p:par>
                          <p:cTn id="90" fill="hold">
                            <p:stCondLst>
                              <p:cond delay="3000"/>
                            </p:stCondLst>
                            <p:childTnLst>
                              <p:par>
                                <p:cTn id="91" presetID="14" presetClass="entr" presetSubtype="10" fill="hold" grpId="0" nodeType="afterEffect">
                                  <p:stCondLst>
                                    <p:cond delay="0"/>
                                  </p:stCondLst>
                                  <p:childTnLst>
                                    <p:set>
                                      <p:cBhvr>
                                        <p:cTn id="92" dur="1" fill="hold">
                                          <p:stCondLst>
                                            <p:cond delay="0"/>
                                          </p:stCondLst>
                                        </p:cTn>
                                        <p:tgtEl>
                                          <p:spTgt spid="33"/>
                                        </p:tgtEl>
                                        <p:attrNameLst>
                                          <p:attrName>style.visibility</p:attrName>
                                        </p:attrNameLst>
                                      </p:cBhvr>
                                      <p:to>
                                        <p:strVal val="visible"/>
                                      </p:to>
                                    </p:set>
                                    <p:animEffect transition="in" filter="randombar(horizontal)">
                                      <p:cBhvr>
                                        <p:cTn id="93" dur="500"/>
                                        <p:tgtEl>
                                          <p:spTgt spid="33"/>
                                        </p:tgtEl>
                                      </p:cBhvr>
                                    </p:animEffect>
                                  </p:childTnLst>
                                </p:cTn>
                              </p:par>
                            </p:childTnLst>
                          </p:cTn>
                        </p:par>
                        <p:par>
                          <p:cTn id="94" fill="hold">
                            <p:stCondLst>
                              <p:cond delay="3500"/>
                            </p:stCondLst>
                            <p:childTnLst>
                              <p:par>
                                <p:cTn id="95" presetID="14" presetClass="entr" presetSubtype="10" fill="hold" grpId="0" nodeType="afterEffect">
                                  <p:stCondLst>
                                    <p:cond delay="0"/>
                                  </p:stCondLst>
                                  <p:childTnLst>
                                    <p:set>
                                      <p:cBhvr>
                                        <p:cTn id="96" dur="1" fill="hold">
                                          <p:stCondLst>
                                            <p:cond delay="0"/>
                                          </p:stCondLst>
                                        </p:cTn>
                                        <p:tgtEl>
                                          <p:spTgt spid="34"/>
                                        </p:tgtEl>
                                        <p:attrNameLst>
                                          <p:attrName>style.visibility</p:attrName>
                                        </p:attrNameLst>
                                      </p:cBhvr>
                                      <p:to>
                                        <p:strVal val="visible"/>
                                      </p:to>
                                    </p:set>
                                    <p:animEffect transition="in" filter="randombar(horizontal)">
                                      <p:cBhvr>
                                        <p:cTn id="97" dur="500"/>
                                        <p:tgtEl>
                                          <p:spTgt spid="34"/>
                                        </p:tgtEl>
                                      </p:cBhvr>
                                    </p:animEffect>
                                  </p:childTnLst>
                                </p:cTn>
                              </p:par>
                            </p:childTnLst>
                          </p:cTn>
                        </p:par>
                        <p:par>
                          <p:cTn id="98" fill="hold">
                            <p:stCondLst>
                              <p:cond delay="4000"/>
                            </p:stCondLst>
                            <p:childTnLst>
                              <p:par>
                                <p:cTn id="99" presetID="14" presetClass="entr" presetSubtype="10" fill="hold" grpId="0" nodeType="after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randombar(horizontal)">
                                      <p:cBhvr>
                                        <p:cTn id="10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9" grpId="0" animBg="1"/>
      <p:bldP spid="20" grpId="0" animBg="1"/>
      <p:bldP spid="24" grpId="0"/>
      <p:bldP spid="25" grpId="0"/>
      <p:bldP spid="26" grpId="0"/>
      <p:bldP spid="27" grpId="0"/>
      <p:bldP spid="28" grpId="0"/>
      <p:bldP spid="29" grpId="0"/>
      <p:bldP spid="30" grpId="0"/>
      <p:bldP spid="31" grpId="0"/>
      <p:bldP spid="32" grpId="0"/>
      <p:bldP spid="33" grpId="0"/>
      <p:bldP spid="34" grpId="0"/>
      <p:bldP spid="35" grpId="0"/>
      <p:bldP spid="3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淘宝网chenying0907出品 1"/>
          <p:cNvSpPr>
            <a:spLocks noChangeArrowheads="1"/>
          </p:cNvSpPr>
          <p:nvPr/>
        </p:nvSpPr>
        <p:spPr bwMode="auto">
          <a:xfrm>
            <a:off x="5360963" y="1390005"/>
            <a:ext cx="28114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p>
        </p:txBody>
      </p:sp>
      <p:sp>
        <p:nvSpPr>
          <p:cNvPr id="39" name="淘宝网chenying0907出品 1"/>
          <p:cNvSpPr>
            <a:spLocks noChangeArrowheads="1"/>
          </p:cNvSpPr>
          <p:nvPr/>
        </p:nvSpPr>
        <p:spPr bwMode="auto">
          <a:xfrm>
            <a:off x="5360964" y="2182093"/>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p>
        </p:txBody>
      </p:sp>
      <p:sp>
        <p:nvSpPr>
          <p:cNvPr id="40" name="淘宝网chenying0907出品 1"/>
          <p:cNvSpPr>
            <a:spLocks noChangeArrowheads="1"/>
          </p:cNvSpPr>
          <p:nvPr/>
        </p:nvSpPr>
        <p:spPr bwMode="auto">
          <a:xfrm>
            <a:off x="5360964" y="2974181"/>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p>
        </p:txBody>
      </p:sp>
      <p:sp>
        <p:nvSpPr>
          <p:cNvPr id="41" name="淘宝网chenying0907出品 15"/>
          <p:cNvSpPr/>
          <p:nvPr/>
        </p:nvSpPr>
        <p:spPr bwMode="auto">
          <a:xfrm>
            <a:off x="1194545" y="1275606"/>
            <a:ext cx="2652649" cy="2386540"/>
          </a:xfrm>
          <a:custGeom>
            <a:avLst/>
            <a:gdLst>
              <a:gd name="T0" fmla="*/ 165 w 230"/>
              <a:gd name="T1" fmla="*/ 137 h 207"/>
              <a:gd name="T2" fmla="*/ 168 w 230"/>
              <a:gd name="T3" fmla="*/ 138 h 207"/>
              <a:gd name="T4" fmla="*/ 223 w 230"/>
              <a:gd name="T5" fmla="*/ 145 h 207"/>
              <a:gd name="T6" fmla="*/ 230 w 230"/>
              <a:gd name="T7" fmla="*/ 156 h 207"/>
              <a:gd name="T8" fmla="*/ 230 w 230"/>
              <a:gd name="T9" fmla="*/ 194 h 207"/>
              <a:gd name="T10" fmla="*/ 223 w 230"/>
              <a:gd name="T11" fmla="*/ 204 h 207"/>
              <a:gd name="T12" fmla="*/ 164 w 230"/>
              <a:gd name="T13" fmla="*/ 207 h 207"/>
              <a:gd name="T14" fmla="*/ 153 w 230"/>
              <a:gd name="T15" fmla="*/ 195 h 207"/>
              <a:gd name="T16" fmla="*/ 152 w 230"/>
              <a:gd name="T17" fmla="*/ 152 h 207"/>
              <a:gd name="T18" fmla="*/ 152 w 230"/>
              <a:gd name="T19" fmla="*/ 149 h 207"/>
              <a:gd name="T20" fmla="*/ 129 w 230"/>
              <a:gd name="T21" fmla="*/ 121 h 207"/>
              <a:gd name="T22" fmla="*/ 125 w 230"/>
              <a:gd name="T23" fmla="*/ 120 h 207"/>
              <a:gd name="T24" fmla="*/ 24 w 230"/>
              <a:gd name="T25" fmla="*/ 104 h 207"/>
              <a:gd name="T26" fmla="*/ 4 w 230"/>
              <a:gd name="T27" fmla="*/ 83 h 207"/>
              <a:gd name="T28" fmla="*/ 0 w 230"/>
              <a:gd name="T29" fmla="*/ 14 h 207"/>
              <a:gd name="T30" fmla="*/ 20 w 230"/>
              <a:gd name="T31" fmla="*/ 4 h 207"/>
              <a:gd name="T32" fmla="*/ 130 w 230"/>
              <a:gd name="T33" fmla="*/ 43 h 207"/>
              <a:gd name="T34" fmla="*/ 142 w 230"/>
              <a:gd name="T35" fmla="*/ 60 h 207"/>
              <a:gd name="T36" fmla="*/ 143 w 230"/>
              <a:gd name="T37" fmla="*/ 103 h 207"/>
              <a:gd name="T38" fmla="*/ 143 w 230"/>
              <a:gd name="T39" fmla="*/ 110 h 207"/>
              <a:gd name="T40" fmla="*/ 165 w 230"/>
              <a:gd name="T41" fmla="*/ 13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0" h="207">
                <a:moveTo>
                  <a:pt x="165" y="137"/>
                </a:moveTo>
                <a:cubicBezTo>
                  <a:pt x="168" y="138"/>
                  <a:pt x="168" y="138"/>
                  <a:pt x="168" y="138"/>
                </a:cubicBezTo>
                <a:cubicBezTo>
                  <a:pt x="223" y="145"/>
                  <a:pt x="223" y="145"/>
                  <a:pt x="223" y="145"/>
                </a:cubicBezTo>
                <a:cubicBezTo>
                  <a:pt x="227" y="146"/>
                  <a:pt x="230" y="151"/>
                  <a:pt x="230" y="156"/>
                </a:cubicBezTo>
                <a:cubicBezTo>
                  <a:pt x="230" y="194"/>
                  <a:pt x="230" y="194"/>
                  <a:pt x="230" y="194"/>
                </a:cubicBezTo>
                <a:cubicBezTo>
                  <a:pt x="230" y="199"/>
                  <a:pt x="227" y="204"/>
                  <a:pt x="223" y="204"/>
                </a:cubicBezTo>
                <a:cubicBezTo>
                  <a:pt x="164" y="207"/>
                  <a:pt x="164" y="207"/>
                  <a:pt x="164" y="207"/>
                </a:cubicBezTo>
                <a:cubicBezTo>
                  <a:pt x="158" y="207"/>
                  <a:pt x="153" y="202"/>
                  <a:pt x="153" y="195"/>
                </a:cubicBezTo>
                <a:cubicBezTo>
                  <a:pt x="152" y="152"/>
                  <a:pt x="152" y="152"/>
                  <a:pt x="152" y="152"/>
                </a:cubicBezTo>
                <a:cubicBezTo>
                  <a:pt x="152" y="149"/>
                  <a:pt x="152" y="149"/>
                  <a:pt x="152" y="149"/>
                </a:cubicBezTo>
                <a:cubicBezTo>
                  <a:pt x="151" y="135"/>
                  <a:pt x="141" y="123"/>
                  <a:pt x="129" y="121"/>
                </a:cubicBezTo>
                <a:cubicBezTo>
                  <a:pt x="125" y="120"/>
                  <a:pt x="125" y="120"/>
                  <a:pt x="125" y="120"/>
                </a:cubicBezTo>
                <a:cubicBezTo>
                  <a:pt x="24" y="104"/>
                  <a:pt x="24" y="104"/>
                  <a:pt x="24" y="104"/>
                </a:cubicBezTo>
                <a:cubicBezTo>
                  <a:pt x="14" y="102"/>
                  <a:pt x="4" y="93"/>
                  <a:pt x="4" y="83"/>
                </a:cubicBezTo>
                <a:cubicBezTo>
                  <a:pt x="0" y="14"/>
                  <a:pt x="0" y="14"/>
                  <a:pt x="0" y="14"/>
                </a:cubicBezTo>
                <a:cubicBezTo>
                  <a:pt x="0" y="4"/>
                  <a:pt x="9" y="0"/>
                  <a:pt x="20" y="4"/>
                </a:cubicBezTo>
                <a:cubicBezTo>
                  <a:pt x="130" y="43"/>
                  <a:pt x="130" y="43"/>
                  <a:pt x="130" y="43"/>
                </a:cubicBezTo>
                <a:cubicBezTo>
                  <a:pt x="136" y="45"/>
                  <a:pt x="142" y="53"/>
                  <a:pt x="142" y="60"/>
                </a:cubicBezTo>
                <a:cubicBezTo>
                  <a:pt x="143" y="103"/>
                  <a:pt x="143" y="103"/>
                  <a:pt x="143" y="103"/>
                </a:cubicBezTo>
                <a:cubicBezTo>
                  <a:pt x="143" y="110"/>
                  <a:pt x="143" y="110"/>
                  <a:pt x="143" y="110"/>
                </a:cubicBezTo>
                <a:cubicBezTo>
                  <a:pt x="143" y="123"/>
                  <a:pt x="153" y="136"/>
                  <a:pt x="165" y="137"/>
                </a:cubicBezTo>
                <a:close/>
              </a:path>
            </a:pathLst>
          </a:custGeom>
          <a:solidFill>
            <a:srgbClr val="2C53B6"/>
          </a:solidFill>
          <a:ln>
            <a:noFill/>
          </a:ln>
        </p:spPr>
        <p:txBody>
          <a:bodyPr vert="horz" wrap="square" lIns="91440" tIns="45720" rIns="91440" bIns="45720" numCol="1" anchor="t" anchorCtr="0" compatLnSpc="1"/>
          <a:lstStyle/>
          <a:p>
            <a:endParaRPr lang="zh-CN" altLang="en-US"/>
          </a:p>
        </p:txBody>
      </p:sp>
      <p:grpSp>
        <p:nvGrpSpPr>
          <p:cNvPr id="44" name="淘宝网chenying0907出品 105"/>
          <p:cNvGrpSpPr/>
          <p:nvPr/>
        </p:nvGrpSpPr>
        <p:grpSpPr>
          <a:xfrm>
            <a:off x="1252273" y="2613196"/>
            <a:ext cx="1614962" cy="1129206"/>
            <a:chOff x="1252273" y="2613196"/>
            <a:chExt cx="1614962" cy="1129206"/>
          </a:xfrm>
        </p:grpSpPr>
        <p:sp>
          <p:nvSpPr>
            <p:cNvPr id="45" name="淘宝网chenying0907出品 13"/>
            <p:cNvSpPr/>
            <p:nvPr/>
          </p:nvSpPr>
          <p:spPr bwMode="auto">
            <a:xfrm>
              <a:off x="1252273" y="2613196"/>
              <a:ext cx="1614962" cy="1129206"/>
            </a:xfrm>
            <a:custGeom>
              <a:avLst/>
              <a:gdLst>
                <a:gd name="T0" fmla="*/ 1 w 140"/>
                <a:gd name="T1" fmla="*/ 16 h 98"/>
                <a:gd name="T2" fmla="*/ 20 w 140"/>
                <a:gd name="T3" fmla="*/ 2 h 98"/>
                <a:gd name="T4" fmla="*/ 127 w 140"/>
                <a:gd name="T5" fmla="*/ 17 h 98"/>
                <a:gd name="T6" fmla="*/ 139 w 140"/>
                <a:gd name="T7" fmla="*/ 31 h 98"/>
                <a:gd name="T8" fmla="*/ 140 w 140"/>
                <a:gd name="T9" fmla="*/ 80 h 98"/>
                <a:gd name="T10" fmla="*/ 128 w 140"/>
                <a:gd name="T11" fmla="*/ 92 h 98"/>
                <a:gd name="T12" fmla="*/ 24 w 140"/>
                <a:gd name="T13" fmla="*/ 97 h 98"/>
                <a:gd name="T14" fmla="*/ 4 w 140"/>
                <a:gd name="T15" fmla="*/ 82 h 98"/>
                <a:gd name="T16" fmla="*/ 1 w 140"/>
                <a:gd name="T17" fmla="*/ 1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 y="16"/>
                  </a:moveTo>
                  <a:cubicBezTo>
                    <a:pt x="0" y="7"/>
                    <a:pt x="9" y="0"/>
                    <a:pt x="20" y="2"/>
                  </a:cubicBezTo>
                  <a:cubicBezTo>
                    <a:pt x="127" y="17"/>
                    <a:pt x="127" y="17"/>
                    <a:pt x="127" y="17"/>
                  </a:cubicBezTo>
                  <a:cubicBezTo>
                    <a:pt x="133" y="18"/>
                    <a:pt x="138" y="24"/>
                    <a:pt x="139" y="31"/>
                  </a:cubicBezTo>
                  <a:cubicBezTo>
                    <a:pt x="140" y="80"/>
                    <a:pt x="140" y="80"/>
                    <a:pt x="140" y="80"/>
                  </a:cubicBezTo>
                  <a:cubicBezTo>
                    <a:pt x="140" y="86"/>
                    <a:pt x="135" y="92"/>
                    <a:pt x="128" y="92"/>
                  </a:cubicBezTo>
                  <a:cubicBezTo>
                    <a:pt x="24" y="97"/>
                    <a:pt x="24" y="97"/>
                    <a:pt x="24" y="97"/>
                  </a:cubicBezTo>
                  <a:cubicBezTo>
                    <a:pt x="14" y="98"/>
                    <a:pt x="5" y="91"/>
                    <a:pt x="4" y="82"/>
                  </a:cubicBezTo>
                  <a:lnTo>
                    <a:pt x="1" y="16"/>
                  </a:lnTo>
                  <a:close/>
                </a:path>
              </a:pathLst>
            </a:custGeom>
            <a:solidFill>
              <a:srgbClr val="206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grpSp>
          <p:nvGrpSpPr>
            <p:cNvPr id="46" name="淘宝网chenying0907出品 107"/>
            <p:cNvGrpSpPr/>
            <p:nvPr/>
          </p:nvGrpSpPr>
          <p:grpSpPr>
            <a:xfrm>
              <a:off x="1819183" y="2999973"/>
              <a:ext cx="540788" cy="490775"/>
              <a:chOff x="7295074" y="3061899"/>
              <a:chExt cx="657551" cy="655133"/>
            </a:xfrm>
            <a:solidFill>
              <a:schemeClr val="bg1"/>
            </a:solidFill>
            <a:scene3d>
              <a:camera prst="perspectiveFront" fov="7200000">
                <a:rot lat="21599969" lon="19499986" rev="0"/>
              </a:camera>
              <a:lightRig rig="threePt" dir="t"/>
            </a:scene3d>
          </p:grpSpPr>
          <p:sp>
            <p:nvSpPr>
              <p:cNvPr id="47" name="淘宝网chenying0907出品 47"/>
              <p:cNvSpPr>
                <a:spLocks noChangeArrowheads="1"/>
              </p:cNvSpPr>
              <p:nvPr/>
            </p:nvSpPr>
            <p:spPr bwMode="auto">
              <a:xfrm>
                <a:off x="7660112" y="3613082"/>
                <a:ext cx="159553" cy="24175"/>
              </a:xfrm>
              <a:prstGeom prst="rect">
                <a:avLst/>
              </a:prstGeom>
              <a:grpFill/>
              <a:ln>
                <a:noFill/>
              </a:ln>
              <a:sp3d/>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8" name="淘宝网chenying0907出品 48"/>
              <p:cNvSpPr>
                <a:spLocks noEditPoints="1"/>
              </p:cNvSpPr>
              <p:nvPr/>
            </p:nvSpPr>
            <p:spPr bwMode="auto">
              <a:xfrm>
                <a:off x="7295074" y="3061899"/>
                <a:ext cx="657551" cy="655133"/>
              </a:xfrm>
              <a:custGeom>
                <a:avLst/>
                <a:gdLst>
                  <a:gd name="T0" fmla="*/ 98 w 115"/>
                  <a:gd name="T1" fmla="*/ 19 h 115"/>
                  <a:gd name="T2" fmla="*/ 17 w 115"/>
                  <a:gd name="T3" fmla="*/ 0 h 115"/>
                  <a:gd name="T4" fmla="*/ 16 w 115"/>
                  <a:gd name="T5" fmla="*/ 37 h 115"/>
                  <a:gd name="T6" fmla="*/ 0 w 115"/>
                  <a:gd name="T7" fmla="*/ 79 h 115"/>
                  <a:gd name="T8" fmla="*/ 17 w 115"/>
                  <a:gd name="T9" fmla="*/ 95 h 115"/>
                  <a:gd name="T10" fmla="*/ 98 w 115"/>
                  <a:gd name="T11" fmla="*/ 115 h 115"/>
                  <a:gd name="T12" fmla="*/ 99 w 115"/>
                  <a:gd name="T13" fmla="*/ 77 h 115"/>
                  <a:gd name="T14" fmla="*/ 115 w 115"/>
                  <a:gd name="T15" fmla="*/ 35 h 115"/>
                  <a:gd name="T16" fmla="*/ 19 w 115"/>
                  <a:gd name="T17" fmla="*/ 6 h 115"/>
                  <a:gd name="T18" fmla="*/ 95 w 115"/>
                  <a:gd name="T19" fmla="*/ 10 h 115"/>
                  <a:gd name="T20" fmla="*/ 19 w 115"/>
                  <a:gd name="T21" fmla="*/ 6 h 115"/>
                  <a:gd name="T22" fmla="*/ 95 w 115"/>
                  <a:gd name="T23" fmla="*/ 19 h 115"/>
                  <a:gd name="T24" fmla="*/ 76 w 115"/>
                  <a:gd name="T25" fmla="*/ 16 h 115"/>
                  <a:gd name="T26" fmla="*/ 19 w 115"/>
                  <a:gd name="T27" fmla="*/ 16 h 115"/>
                  <a:gd name="T28" fmla="*/ 63 w 115"/>
                  <a:gd name="T29" fmla="*/ 20 h 115"/>
                  <a:gd name="T30" fmla="*/ 22 w 115"/>
                  <a:gd name="T31" fmla="*/ 25 h 115"/>
                  <a:gd name="T32" fmla="*/ 54 w 115"/>
                  <a:gd name="T33" fmla="*/ 30 h 115"/>
                  <a:gd name="T34" fmla="*/ 22 w 115"/>
                  <a:gd name="T35" fmla="*/ 34 h 115"/>
                  <a:gd name="T36" fmla="*/ 56 w 115"/>
                  <a:gd name="T37" fmla="*/ 39 h 115"/>
                  <a:gd name="T38" fmla="*/ 22 w 115"/>
                  <a:gd name="T39" fmla="*/ 44 h 115"/>
                  <a:gd name="T40" fmla="*/ 65 w 115"/>
                  <a:gd name="T41" fmla="*/ 49 h 115"/>
                  <a:gd name="T42" fmla="*/ 22 w 115"/>
                  <a:gd name="T43" fmla="*/ 54 h 115"/>
                  <a:gd name="T44" fmla="*/ 75 w 115"/>
                  <a:gd name="T45" fmla="*/ 58 h 115"/>
                  <a:gd name="T46" fmla="*/ 39 w 115"/>
                  <a:gd name="T47" fmla="*/ 54 h 115"/>
                  <a:gd name="T48" fmla="*/ 22 w 115"/>
                  <a:gd name="T49" fmla="*/ 58 h 115"/>
                  <a:gd name="T50" fmla="*/ 39 w 115"/>
                  <a:gd name="T51" fmla="*/ 63 h 115"/>
                  <a:gd name="T52" fmla="*/ 19 w 115"/>
                  <a:gd name="T53" fmla="*/ 66 h 115"/>
                  <a:gd name="T54" fmla="*/ 16 w 115"/>
                  <a:gd name="T55" fmla="*/ 92 h 115"/>
                  <a:gd name="T56" fmla="*/ 2 w 115"/>
                  <a:gd name="T57" fmla="*/ 62 h 115"/>
                  <a:gd name="T58" fmla="*/ 16 w 115"/>
                  <a:gd name="T59" fmla="*/ 69 h 115"/>
                  <a:gd name="T60" fmla="*/ 41 w 115"/>
                  <a:gd name="T61" fmla="*/ 61 h 115"/>
                  <a:gd name="T62" fmla="*/ 41 w 115"/>
                  <a:gd name="T63" fmla="*/ 101 h 115"/>
                  <a:gd name="T64" fmla="*/ 16 w 115"/>
                  <a:gd name="T65" fmla="*/ 92 h 115"/>
                  <a:gd name="T66" fmla="*/ 19 w 115"/>
                  <a:gd name="T67" fmla="*/ 112 h 115"/>
                  <a:gd name="T68" fmla="*/ 39 w 115"/>
                  <a:gd name="T69" fmla="*/ 95 h 115"/>
                  <a:gd name="T70" fmla="*/ 53 w 115"/>
                  <a:gd name="T71" fmla="*/ 92 h 115"/>
                  <a:gd name="T72" fmla="*/ 92 w 115"/>
                  <a:gd name="T73" fmla="*/ 87 h 115"/>
                  <a:gd name="T74" fmla="*/ 63 w 115"/>
                  <a:gd name="T75" fmla="*/ 82 h 115"/>
                  <a:gd name="T76" fmla="*/ 92 w 115"/>
                  <a:gd name="T77" fmla="*/ 77 h 115"/>
                  <a:gd name="T78" fmla="*/ 57 w 115"/>
                  <a:gd name="T79" fmla="*/ 73 h 115"/>
                  <a:gd name="T80" fmla="*/ 92 w 115"/>
                  <a:gd name="T81" fmla="*/ 68 h 115"/>
                  <a:gd name="T82" fmla="*/ 47 w 115"/>
                  <a:gd name="T83" fmla="*/ 63 h 115"/>
                  <a:gd name="T84" fmla="*/ 92 w 115"/>
                  <a:gd name="T85" fmla="*/ 58 h 115"/>
                  <a:gd name="T86" fmla="*/ 76 w 115"/>
                  <a:gd name="T87" fmla="*/ 54 h 115"/>
                  <a:gd name="T88" fmla="*/ 92 w 115"/>
                  <a:gd name="T89" fmla="*/ 49 h 115"/>
                  <a:gd name="T90" fmla="*/ 76 w 115"/>
                  <a:gd name="T91" fmla="*/ 47 h 115"/>
                  <a:gd name="T92" fmla="*/ 95 w 115"/>
                  <a:gd name="T93" fmla="*/ 112 h 115"/>
                  <a:gd name="T94" fmla="*/ 106 w 115"/>
                  <a:gd name="T95" fmla="*/ 47 h 115"/>
                  <a:gd name="T96" fmla="*/ 73 w 115"/>
                  <a:gd name="T97" fmla="*/ 45 h 115"/>
                  <a:gd name="T98" fmla="*/ 54 w 115"/>
                  <a:gd name="T99" fmla="*/ 33 h 115"/>
                  <a:gd name="T100" fmla="*/ 73 w 115"/>
                  <a:gd name="T101" fmla="*/ 21 h 115"/>
                  <a:gd name="T102" fmla="*/ 112 w 115"/>
                  <a:gd name="T103"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15">
                    <a:moveTo>
                      <a:pt x="99" y="19"/>
                    </a:moveTo>
                    <a:cubicBezTo>
                      <a:pt x="98" y="19"/>
                      <a:pt x="98" y="19"/>
                      <a:pt x="98" y="19"/>
                    </a:cubicBezTo>
                    <a:cubicBezTo>
                      <a:pt x="98" y="0"/>
                      <a:pt x="98" y="0"/>
                      <a:pt x="98" y="0"/>
                    </a:cubicBezTo>
                    <a:cubicBezTo>
                      <a:pt x="17" y="0"/>
                      <a:pt x="17" y="0"/>
                      <a:pt x="17" y="0"/>
                    </a:cubicBezTo>
                    <a:cubicBezTo>
                      <a:pt x="17" y="37"/>
                      <a:pt x="17" y="37"/>
                      <a:pt x="17" y="37"/>
                    </a:cubicBezTo>
                    <a:cubicBezTo>
                      <a:pt x="16" y="37"/>
                      <a:pt x="16" y="37"/>
                      <a:pt x="16" y="37"/>
                    </a:cubicBezTo>
                    <a:cubicBezTo>
                      <a:pt x="7" y="37"/>
                      <a:pt x="0" y="44"/>
                      <a:pt x="0" y="53"/>
                    </a:cubicBezTo>
                    <a:cubicBezTo>
                      <a:pt x="0" y="79"/>
                      <a:pt x="0" y="79"/>
                      <a:pt x="0" y="79"/>
                    </a:cubicBezTo>
                    <a:cubicBezTo>
                      <a:pt x="0" y="88"/>
                      <a:pt x="7" y="95"/>
                      <a:pt x="16" y="95"/>
                    </a:cubicBezTo>
                    <a:cubicBezTo>
                      <a:pt x="17" y="95"/>
                      <a:pt x="17" y="95"/>
                      <a:pt x="17" y="95"/>
                    </a:cubicBezTo>
                    <a:cubicBezTo>
                      <a:pt x="17" y="115"/>
                      <a:pt x="17" y="115"/>
                      <a:pt x="17" y="115"/>
                    </a:cubicBezTo>
                    <a:cubicBezTo>
                      <a:pt x="98" y="115"/>
                      <a:pt x="98" y="115"/>
                      <a:pt x="98" y="115"/>
                    </a:cubicBezTo>
                    <a:cubicBezTo>
                      <a:pt x="98" y="77"/>
                      <a:pt x="98" y="77"/>
                      <a:pt x="98" y="77"/>
                    </a:cubicBezTo>
                    <a:cubicBezTo>
                      <a:pt x="99" y="77"/>
                      <a:pt x="99" y="77"/>
                      <a:pt x="99" y="77"/>
                    </a:cubicBezTo>
                    <a:cubicBezTo>
                      <a:pt x="108" y="77"/>
                      <a:pt x="115" y="70"/>
                      <a:pt x="115" y="61"/>
                    </a:cubicBezTo>
                    <a:cubicBezTo>
                      <a:pt x="115" y="35"/>
                      <a:pt x="115" y="35"/>
                      <a:pt x="115" y="35"/>
                    </a:cubicBezTo>
                    <a:cubicBezTo>
                      <a:pt x="115" y="26"/>
                      <a:pt x="108" y="19"/>
                      <a:pt x="99" y="19"/>
                    </a:cubicBezTo>
                    <a:close/>
                    <a:moveTo>
                      <a:pt x="19" y="6"/>
                    </a:moveTo>
                    <a:cubicBezTo>
                      <a:pt x="95" y="6"/>
                      <a:pt x="95" y="6"/>
                      <a:pt x="95" y="6"/>
                    </a:cubicBezTo>
                    <a:cubicBezTo>
                      <a:pt x="95" y="10"/>
                      <a:pt x="95" y="10"/>
                      <a:pt x="95" y="10"/>
                    </a:cubicBezTo>
                    <a:cubicBezTo>
                      <a:pt x="19" y="10"/>
                      <a:pt x="19" y="10"/>
                      <a:pt x="19" y="10"/>
                    </a:cubicBezTo>
                    <a:lnTo>
                      <a:pt x="19" y="6"/>
                    </a:lnTo>
                    <a:close/>
                    <a:moveTo>
                      <a:pt x="95" y="16"/>
                    </a:moveTo>
                    <a:cubicBezTo>
                      <a:pt x="95" y="19"/>
                      <a:pt x="95" y="19"/>
                      <a:pt x="95" y="19"/>
                    </a:cubicBezTo>
                    <a:cubicBezTo>
                      <a:pt x="76" y="19"/>
                      <a:pt x="76" y="19"/>
                      <a:pt x="76" y="19"/>
                    </a:cubicBezTo>
                    <a:cubicBezTo>
                      <a:pt x="76" y="16"/>
                      <a:pt x="76" y="16"/>
                      <a:pt x="76" y="16"/>
                    </a:cubicBezTo>
                    <a:lnTo>
                      <a:pt x="95" y="16"/>
                    </a:lnTo>
                    <a:close/>
                    <a:moveTo>
                      <a:pt x="19" y="16"/>
                    </a:moveTo>
                    <a:cubicBezTo>
                      <a:pt x="67" y="16"/>
                      <a:pt x="67" y="16"/>
                      <a:pt x="67" y="16"/>
                    </a:cubicBezTo>
                    <a:cubicBezTo>
                      <a:pt x="63" y="20"/>
                      <a:pt x="63" y="20"/>
                      <a:pt x="63" y="20"/>
                    </a:cubicBezTo>
                    <a:cubicBezTo>
                      <a:pt x="22" y="20"/>
                      <a:pt x="22" y="20"/>
                      <a:pt x="22" y="20"/>
                    </a:cubicBezTo>
                    <a:cubicBezTo>
                      <a:pt x="22" y="25"/>
                      <a:pt x="22" y="25"/>
                      <a:pt x="22" y="25"/>
                    </a:cubicBezTo>
                    <a:cubicBezTo>
                      <a:pt x="59" y="25"/>
                      <a:pt x="59" y="25"/>
                      <a:pt x="59" y="25"/>
                    </a:cubicBezTo>
                    <a:cubicBezTo>
                      <a:pt x="54" y="30"/>
                      <a:pt x="54" y="30"/>
                      <a:pt x="54" y="30"/>
                    </a:cubicBezTo>
                    <a:cubicBezTo>
                      <a:pt x="22" y="30"/>
                      <a:pt x="22" y="30"/>
                      <a:pt x="22" y="30"/>
                    </a:cubicBezTo>
                    <a:cubicBezTo>
                      <a:pt x="22" y="34"/>
                      <a:pt x="22" y="34"/>
                      <a:pt x="22" y="34"/>
                    </a:cubicBezTo>
                    <a:cubicBezTo>
                      <a:pt x="52" y="34"/>
                      <a:pt x="52" y="34"/>
                      <a:pt x="52" y="34"/>
                    </a:cubicBezTo>
                    <a:cubicBezTo>
                      <a:pt x="56" y="39"/>
                      <a:pt x="56" y="39"/>
                      <a:pt x="56" y="39"/>
                    </a:cubicBezTo>
                    <a:cubicBezTo>
                      <a:pt x="22" y="39"/>
                      <a:pt x="22" y="39"/>
                      <a:pt x="22" y="39"/>
                    </a:cubicBezTo>
                    <a:cubicBezTo>
                      <a:pt x="22" y="44"/>
                      <a:pt x="22" y="44"/>
                      <a:pt x="22" y="44"/>
                    </a:cubicBezTo>
                    <a:cubicBezTo>
                      <a:pt x="61" y="44"/>
                      <a:pt x="61" y="44"/>
                      <a:pt x="61" y="44"/>
                    </a:cubicBezTo>
                    <a:cubicBezTo>
                      <a:pt x="65" y="49"/>
                      <a:pt x="65" y="49"/>
                      <a:pt x="65" y="49"/>
                    </a:cubicBezTo>
                    <a:cubicBezTo>
                      <a:pt x="22" y="49"/>
                      <a:pt x="22" y="49"/>
                      <a:pt x="22" y="49"/>
                    </a:cubicBezTo>
                    <a:cubicBezTo>
                      <a:pt x="22" y="54"/>
                      <a:pt x="22" y="54"/>
                      <a:pt x="22" y="54"/>
                    </a:cubicBezTo>
                    <a:cubicBezTo>
                      <a:pt x="70" y="54"/>
                      <a:pt x="70" y="54"/>
                      <a:pt x="70" y="54"/>
                    </a:cubicBezTo>
                    <a:cubicBezTo>
                      <a:pt x="75" y="58"/>
                      <a:pt x="75" y="58"/>
                      <a:pt x="75" y="58"/>
                    </a:cubicBezTo>
                    <a:cubicBezTo>
                      <a:pt x="43" y="58"/>
                      <a:pt x="43" y="58"/>
                      <a:pt x="43" y="58"/>
                    </a:cubicBezTo>
                    <a:cubicBezTo>
                      <a:pt x="39" y="54"/>
                      <a:pt x="39" y="54"/>
                      <a:pt x="39" y="54"/>
                    </a:cubicBezTo>
                    <a:cubicBezTo>
                      <a:pt x="39" y="58"/>
                      <a:pt x="39" y="58"/>
                      <a:pt x="39" y="58"/>
                    </a:cubicBezTo>
                    <a:cubicBezTo>
                      <a:pt x="22" y="58"/>
                      <a:pt x="22" y="58"/>
                      <a:pt x="22" y="58"/>
                    </a:cubicBezTo>
                    <a:cubicBezTo>
                      <a:pt x="22" y="63"/>
                      <a:pt x="22" y="63"/>
                      <a:pt x="22" y="63"/>
                    </a:cubicBezTo>
                    <a:cubicBezTo>
                      <a:pt x="39" y="63"/>
                      <a:pt x="39" y="63"/>
                      <a:pt x="39" y="63"/>
                    </a:cubicBezTo>
                    <a:cubicBezTo>
                      <a:pt x="39" y="66"/>
                      <a:pt x="39" y="66"/>
                      <a:pt x="39" y="66"/>
                    </a:cubicBezTo>
                    <a:cubicBezTo>
                      <a:pt x="19" y="66"/>
                      <a:pt x="19" y="66"/>
                      <a:pt x="19" y="66"/>
                    </a:cubicBezTo>
                    <a:lnTo>
                      <a:pt x="19" y="16"/>
                    </a:lnTo>
                    <a:close/>
                    <a:moveTo>
                      <a:pt x="16" y="92"/>
                    </a:moveTo>
                    <a:cubicBezTo>
                      <a:pt x="8" y="92"/>
                      <a:pt x="2" y="86"/>
                      <a:pt x="2" y="79"/>
                    </a:cubicBezTo>
                    <a:cubicBezTo>
                      <a:pt x="2" y="62"/>
                      <a:pt x="2" y="62"/>
                      <a:pt x="2" y="62"/>
                    </a:cubicBezTo>
                    <a:cubicBezTo>
                      <a:pt x="4" y="64"/>
                      <a:pt x="6" y="66"/>
                      <a:pt x="8" y="67"/>
                    </a:cubicBezTo>
                    <a:cubicBezTo>
                      <a:pt x="10" y="68"/>
                      <a:pt x="13" y="69"/>
                      <a:pt x="16" y="69"/>
                    </a:cubicBezTo>
                    <a:cubicBezTo>
                      <a:pt x="41" y="69"/>
                      <a:pt x="41" y="69"/>
                      <a:pt x="41" y="69"/>
                    </a:cubicBezTo>
                    <a:cubicBezTo>
                      <a:pt x="41" y="61"/>
                      <a:pt x="41" y="61"/>
                      <a:pt x="41" y="61"/>
                    </a:cubicBezTo>
                    <a:cubicBezTo>
                      <a:pt x="61" y="81"/>
                      <a:pt x="61" y="81"/>
                      <a:pt x="61" y="81"/>
                    </a:cubicBezTo>
                    <a:cubicBezTo>
                      <a:pt x="41" y="101"/>
                      <a:pt x="41" y="101"/>
                      <a:pt x="41" y="101"/>
                    </a:cubicBezTo>
                    <a:cubicBezTo>
                      <a:pt x="41" y="92"/>
                      <a:pt x="41" y="92"/>
                      <a:pt x="41" y="92"/>
                    </a:cubicBezTo>
                    <a:lnTo>
                      <a:pt x="16" y="92"/>
                    </a:lnTo>
                    <a:close/>
                    <a:moveTo>
                      <a:pt x="95" y="112"/>
                    </a:moveTo>
                    <a:cubicBezTo>
                      <a:pt x="19" y="112"/>
                      <a:pt x="19" y="112"/>
                      <a:pt x="19" y="112"/>
                    </a:cubicBezTo>
                    <a:cubicBezTo>
                      <a:pt x="19" y="95"/>
                      <a:pt x="19" y="95"/>
                      <a:pt x="19" y="95"/>
                    </a:cubicBezTo>
                    <a:cubicBezTo>
                      <a:pt x="39" y="95"/>
                      <a:pt x="39" y="95"/>
                      <a:pt x="39" y="95"/>
                    </a:cubicBezTo>
                    <a:cubicBezTo>
                      <a:pt x="39" y="107"/>
                      <a:pt x="39" y="107"/>
                      <a:pt x="39" y="107"/>
                    </a:cubicBezTo>
                    <a:cubicBezTo>
                      <a:pt x="53" y="92"/>
                      <a:pt x="53" y="92"/>
                      <a:pt x="53" y="92"/>
                    </a:cubicBezTo>
                    <a:cubicBezTo>
                      <a:pt x="92" y="92"/>
                      <a:pt x="92" y="92"/>
                      <a:pt x="92" y="92"/>
                    </a:cubicBezTo>
                    <a:cubicBezTo>
                      <a:pt x="92" y="87"/>
                      <a:pt x="92" y="87"/>
                      <a:pt x="92" y="87"/>
                    </a:cubicBezTo>
                    <a:cubicBezTo>
                      <a:pt x="58" y="87"/>
                      <a:pt x="58" y="87"/>
                      <a:pt x="58" y="87"/>
                    </a:cubicBezTo>
                    <a:cubicBezTo>
                      <a:pt x="63" y="82"/>
                      <a:pt x="63" y="82"/>
                      <a:pt x="63" y="82"/>
                    </a:cubicBezTo>
                    <a:cubicBezTo>
                      <a:pt x="92" y="82"/>
                      <a:pt x="92" y="82"/>
                      <a:pt x="92" y="82"/>
                    </a:cubicBezTo>
                    <a:cubicBezTo>
                      <a:pt x="92" y="77"/>
                      <a:pt x="92" y="77"/>
                      <a:pt x="92" y="77"/>
                    </a:cubicBezTo>
                    <a:cubicBezTo>
                      <a:pt x="61" y="77"/>
                      <a:pt x="61" y="77"/>
                      <a:pt x="61" y="77"/>
                    </a:cubicBezTo>
                    <a:cubicBezTo>
                      <a:pt x="57" y="73"/>
                      <a:pt x="57" y="73"/>
                      <a:pt x="57" y="73"/>
                    </a:cubicBezTo>
                    <a:cubicBezTo>
                      <a:pt x="92" y="73"/>
                      <a:pt x="92" y="73"/>
                      <a:pt x="92" y="73"/>
                    </a:cubicBezTo>
                    <a:cubicBezTo>
                      <a:pt x="92" y="68"/>
                      <a:pt x="92" y="68"/>
                      <a:pt x="92" y="68"/>
                    </a:cubicBezTo>
                    <a:cubicBezTo>
                      <a:pt x="52" y="68"/>
                      <a:pt x="52" y="68"/>
                      <a:pt x="52" y="68"/>
                    </a:cubicBezTo>
                    <a:cubicBezTo>
                      <a:pt x="47" y="63"/>
                      <a:pt x="47" y="63"/>
                      <a:pt x="47" y="63"/>
                    </a:cubicBezTo>
                    <a:cubicBezTo>
                      <a:pt x="92" y="63"/>
                      <a:pt x="92" y="63"/>
                      <a:pt x="92" y="63"/>
                    </a:cubicBezTo>
                    <a:cubicBezTo>
                      <a:pt x="92" y="58"/>
                      <a:pt x="92" y="58"/>
                      <a:pt x="92" y="58"/>
                    </a:cubicBezTo>
                    <a:cubicBezTo>
                      <a:pt x="76" y="58"/>
                      <a:pt x="76" y="58"/>
                      <a:pt x="76" y="58"/>
                    </a:cubicBezTo>
                    <a:cubicBezTo>
                      <a:pt x="76" y="54"/>
                      <a:pt x="76" y="54"/>
                      <a:pt x="76" y="54"/>
                    </a:cubicBezTo>
                    <a:cubicBezTo>
                      <a:pt x="92" y="54"/>
                      <a:pt x="92" y="54"/>
                      <a:pt x="92" y="54"/>
                    </a:cubicBezTo>
                    <a:cubicBezTo>
                      <a:pt x="92" y="49"/>
                      <a:pt x="92" y="49"/>
                      <a:pt x="92" y="49"/>
                    </a:cubicBezTo>
                    <a:cubicBezTo>
                      <a:pt x="76" y="49"/>
                      <a:pt x="76" y="49"/>
                      <a:pt x="76" y="49"/>
                    </a:cubicBezTo>
                    <a:cubicBezTo>
                      <a:pt x="76" y="47"/>
                      <a:pt x="76" y="47"/>
                      <a:pt x="76" y="47"/>
                    </a:cubicBezTo>
                    <a:cubicBezTo>
                      <a:pt x="95" y="47"/>
                      <a:pt x="95" y="47"/>
                      <a:pt x="95" y="47"/>
                    </a:cubicBezTo>
                    <a:lnTo>
                      <a:pt x="95" y="112"/>
                    </a:lnTo>
                    <a:close/>
                    <a:moveTo>
                      <a:pt x="112" y="52"/>
                    </a:moveTo>
                    <a:cubicBezTo>
                      <a:pt x="111" y="50"/>
                      <a:pt x="109" y="48"/>
                      <a:pt x="106" y="47"/>
                    </a:cubicBezTo>
                    <a:cubicBezTo>
                      <a:pt x="104" y="45"/>
                      <a:pt x="102" y="45"/>
                      <a:pt x="99" y="45"/>
                    </a:cubicBezTo>
                    <a:cubicBezTo>
                      <a:pt x="73" y="45"/>
                      <a:pt x="73" y="45"/>
                      <a:pt x="73" y="45"/>
                    </a:cubicBezTo>
                    <a:cubicBezTo>
                      <a:pt x="73" y="53"/>
                      <a:pt x="73" y="53"/>
                      <a:pt x="73" y="53"/>
                    </a:cubicBezTo>
                    <a:cubicBezTo>
                      <a:pt x="54" y="33"/>
                      <a:pt x="54" y="33"/>
                      <a:pt x="54" y="33"/>
                    </a:cubicBezTo>
                    <a:cubicBezTo>
                      <a:pt x="73" y="13"/>
                      <a:pt x="73" y="13"/>
                      <a:pt x="73" y="13"/>
                    </a:cubicBezTo>
                    <a:cubicBezTo>
                      <a:pt x="73" y="21"/>
                      <a:pt x="73" y="21"/>
                      <a:pt x="73" y="21"/>
                    </a:cubicBezTo>
                    <a:cubicBezTo>
                      <a:pt x="99" y="21"/>
                      <a:pt x="99" y="21"/>
                      <a:pt x="99" y="21"/>
                    </a:cubicBezTo>
                    <a:cubicBezTo>
                      <a:pt x="106" y="21"/>
                      <a:pt x="112" y="27"/>
                      <a:pt x="112" y="35"/>
                    </a:cubicBezTo>
                    <a:lnTo>
                      <a:pt x="112" y="52"/>
                    </a:lnTo>
                    <a:close/>
                  </a:path>
                </a:pathLst>
              </a:custGeom>
              <a:grpFill/>
              <a:ln>
                <a:noFill/>
              </a:ln>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9" name="淘宝网chenying0907出品 110"/>
          <p:cNvGrpSpPr/>
          <p:nvPr/>
        </p:nvGrpSpPr>
        <p:grpSpPr>
          <a:xfrm>
            <a:off x="2936226" y="1875410"/>
            <a:ext cx="910968" cy="979960"/>
            <a:chOff x="2936226" y="1875410"/>
            <a:chExt cx="910968" cy="979960"/>
          </a:xfrm>
        </p:grpSpPr>
        <p:sp>
          <p:nvSpPr>
            <p:cNvPr id="50" name="淘宝网chenying0907出品 14"/>
            <p:cNvSpPr/>
            <p:nvPr/>
          </p:nvSpPr>
          <p:spPr bwMode="auto">
            <a:xfrm>
              <a:off x="2936226" y="1875410"/>
              <a:ext cx="910968" cy="979960"/>
            </a:xfrm>
            <a:custGeom>
              <a:avLst/>
              <a:gdLst>
                <a:gd name="T0" fmla="*/ 0 w 79"/>
                <a:gd name="T1" fmla="*/ 11 h 85"/>
                <a:gd name="T2" fmla="*/ 10 w 79"/>
                <a:gd name="T3" fmla="*/ 2 h 85"/>
                <a:gd name="T4" fmla="*/ 72 w 79"/>
                <a:gd name="T5" fmla="*/ 24 h 85"/>
                <a:gd name="T6" fmla="*/ 79 w 79"/>
                <a:gd name="T7" fmla="*/ 37 h 85"/>
                <a:gd name="T8" fmla="*/ 79 w 79"/>
                <a:gd name="T9" fmla="*/ 76 h 85"/>
                <a:gd name="T10" fmla="*/ 72 w 79"/>
                <a:gd name="T11" fmla="*/ 85 h 85"/>
                <a:gd name="T12" fmla="*/ 11 w 79"/>
                <a:gd name="T13" fmla="*/ 75 h 85"/>
                <a:gd name="T14" fmla="*/ 1 w 79"/>
                <a:gd name="T15" fmla="*/ 61 h 85"/>
                <a:gd name="T16" fmla="*/ 0 w 79"/>
                <a:gd name="T17"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85">
                  <a:moveTo>
                    <a:pt x="0" y="11"/>
                  </a:moveTo>
                  <a:cubicBezTo>
                    <a:pt x="0" y="4"/>
                    <a:pt x="4" y="0"/>
                    <a:pt x="10" y="2"/>
                  </a:cubicBezTo>
                  <a:cubicBezTo>
                    <a:pt x="72" y="24"/>
                    <a:pt x="72" y="24"/>
                    <a:pt x="72" y="24"/>
                  </a:cubicBezTo>
                  <a:cubicBezTo>
                    <a:pt x="76" y="26"/>
                    <a:pt x="79" y="31"/>
                    <a:pt x="79" y="37"/>
                  </a:cubicBezTo>
                  <a:cubicBezTo>
                    <a:pt x="79" y="76"/>
                    <a:pt x="79" y="76"/>
                    <a:pt x="79" y="76"/>
                  </a:cubicBezTo>
                  <a:cubicBezTo>
                    <a:pt x="79" y="81"/>
                    <a:pt x="76" y="85"/>
                    <a:pt x="72" y="85"/>
                  </a:cubicBezTo>
                  <a:cubicBezTo>
                    <a:pt x="11" y="75"/>
                    <a:pt x="11" y="75"/>
                    <a:pt x="11" y="75"/>
                  </a:cubicBezTo>
                  <a:cubicBezTo>
                    <a:pt x="6" y="74"/>
                    <a:pt x="1" y="67"/>
                    <a:pt x="1" y="61"/>
                  </a:cubicBezTo>
                  <a:lnTo>
                    <a:pt x="0" y="11"/>
                  </a:lnTo>
                  <a:close/>
                </a:path>
              </a:pathLst>
            </a:custGeom>
            <a:solidFill>
              <a:srgbClr val="206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dirty="0"/>
            </a:p>
          </p:txBody>
        </p:sp>
        <p:sp>
          <p:nvSpPr>
            <p:cNvPr id="51" name="淘宝网chenying0907出品 58"/>
            <p:cNvSpPr>
              <a:spLocks noEditPoints="1"/>
            </p:cNvSpPr>
            <p:nvPr/>
          </p:nvSpPr>
          <p:spPr bwMode="auto">
            <a:xfrm>
              <a:off x="3125529" y="2226421"/>
              <a:ext cx="532360" cy="484908"/>
            </a:xfrm>
            <a:custGeom>
              <a:avLst/>
              <a:gdLst>
                <a:gd name="T0" fmla="*/ 75 w 115"/>
                <a:gd name="T1" fmla="*/ 115 h 115"/>
                <a:gd name="T2" fmla="*/ 79 w 115"/>
                <a:gd name="T3" fmla="*/ 103 h 115"/>
                <a:gd name="T4" fmla="*/ 111 w 115"/>
                <a:gd name="T5" fmla="*/ 89 h 115"/>
                <a:gd name="T6" fmla="*/ 115 w 115"/>
                <a:gd name="T7" fmla="*/ 77 h 115"/>
                <a:gd name="T8" fmla="*/ 115 w 115"/>
                <a:gd name="T9" fmla="*/ 39 h 115"/>
                <a:gd name="T10" fmla="*/ 95 w 115"/>
                <a:gd name="T11" fmla="*/ 35 h 115"/>
                <a:gd name="T12" fmla="*/ 95 w 115"/>
                <a:gd name="T13" fmla="*/ 4 h 115"/>
                <a:gd name="T14" fmla="*/ 20 w 115"/>
                <a:gd name="T15" fmla="*/ 0 h 115"/>
                <a:gd name="T16" fmla="*/ 15 w 115"/>
                <a:gd name="T17" fmla="*/ 27 h 115"/>
                <a:gd name="T18" fmla="*/ 15 w 115"/>
                <a:gd name="T19" fmla="*/ 49 h 115"/>
                <a:gd name="T20" fmla="*/ 35 w 115"/>
                <a:gd name="T21" fmla="*/ 54 h 115"/>
                <a:gd name="T22" fmla="*/ 4 w 115"/>
                <a:gd name="T23" fmla="*/ 61 h 115"/>
                <a:gd name="T24" fmla="*/ 0 w 115"/>
                <a:gd name="T25" fmla="*/ 88 h 115"/>
                <a:gd name="T26" fmla="*/ 0 w 115"/>
                <a:gd name="T27" fmla="*/ 110 h 115"/>
                <a:gd name="T28" fmla="*/ 4 w 115"/>
                <a:gd name="T29" fmla="*/ 63 h 115"/>
                <a:gd name="T30" fmla="*/ 77 w 115"/>
                <a:gd name="T31" fmla="*/ 65 h 115"/>
                <a:gd name="T32" fmla="*/ 2 w 115"/>
                <a:gd name="T33" fmla="*/ 88 h 115"/>
                <a:gd name="T34" fmla="*/ 4 w 115"/>
                <a:gd name="T35" fmla="*/ 63 h 115"/>
                <a:gd name="T36" fmla="*/ 18 w 115"/>
                <a:gd name="T37" fmla="*/ 42 h 115"/>
                <a:gd name="T38" fmla="*/ 35 w 115"/>
                <a:gd name="T39" fmla="*/ 51 h 115"/>
                <a:gd name="T40" fmla="*/ 18 w 115"/>
                <a:gd name="T41" fmla="*/ 49 h 115"/>
                <a:gd name="T42" fmla="*/ 91 w 115"/>
                <a:gd name="T43" fmla="*/ 3 h 115"/>
                <a:gd name="T44" fmla="*/ 93 w 115"/>
                <a:gd name="T45" fmla="*/ 27 h 115"/>
                <a:gd name="T46" fmla="*/ 18 w 115"/>
                <a:gd name="T47" fmla="*/ 4 h 115"/>
                <a:gd name="T48" fmla="*/ 38 w 115"/>
                <a:gd name="T49" fmla="*/ 39 h 115"/>
                <a:gd name="T50" fmla="*/ 111 w 115"/>
                <a:gd name="T51" fmla="*/ 38 h 115"/>
                <a:gd name="T52" fmla="*/ 112 w 115"/>
                <a:gd name="T53" fmla="*/ 63 h 115"/>
                <a:gd name="T54" fmla="*/ 75 w 115"/>
                <a:gd name="T55" fmla="*/ 61 h 115"/>
                <a:gd name="T56" fmla="*/ 38 w 115"/>
                <a:gd name="T57" fmla="*/ 39 h 115"/>
                <a:gd name="T58" fmla="*/ 79 w 115"/>
                <a:gd name="T59" fmla="*/ 86 h 115"/>
                <a:gd name="T60" fmla="*/ 112 w 115"/>
                <a:gd name="T61" fmla="*/ 77 h 115"/>
                <a:gd name="T62" fmla="*/ 111 w 115"/>
                <a:gd name="T63" fmla="*/ 86 h 115"/>
                <a:gd name="T64" fmla="*/ 77 w 115"/>
                <a:gd name="T65" fmla="*/ 110 h 115"/>
                <a:gd name="T66" fmla="*/ 4 w 115"/>
                <a:gd name="T67" fmla="*/ 112 h 115"/>
                <a:gd name="T68" fmla="*/ 2 w 115"/>
                <a:gd name="T69" fmla="*/ 10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15">
                  <a:moveTo>
                    <a:pt x="4" y="115"/>
                  </a:moveTo>
                  <a:cubicBezTo>
                    <a:pt x="75" y="115"/>
                    <a:pt x="75" y="115"/>
                    <a:pt x="75" y="115"/>
                  </a:cubicBezTo>
                  <a:cubicBezTo>
                    <a:pt x="78" y="115"/>
                    <a:pt x="79" y="113"/>
                    <a:pt x="79" y="110"/>
                  </a:cubicBezTo>
                  <a:cubicBezTo>
                    <a:pt x="79" y="103"/>
                    <a:pt x="79" y="103"/>
                    <a:pt x="79" y="103"/>
                  </a:cubicBezTo>
                  <a:cubicBezTo>
                    <a:pt x="79" y="89"/>
                    <a:pt x="79" y="89"/>
                    <a:pt x="79" y="89"/>
                  </a:cubicBezTo>
                  <a:cubicBezTo>
                    <a:pt x="111" y="89"/>
                    <a:pt x="111" y="89"/>
                    <a:pt x="111" y="89"/>
                  </a:cubicBezTo>
                  <a:cubicBezTo>
                    <a:pt x="113" y="89"/>
                    <a:pt x="115" y="87"/>
                    <a:pt x="115" y="85"/>
                  </a:cubicBezTo>
                  <a:cubicBezTo>
                    <a:pt x="115" y="77"/>
                    <a:pt x="115" y="77"/>
                    <a:pt x="115" y="77"/>
                  </a:cubicBezTo>
                  <a:cubicBezTo>
                    <a:pt x="115" y="63"/>
                    <a:pt x="115" y="63"/>
                    <a:pt x="115" y="63"/>
                  </a:cubicBezTo>
                  <a:cubicBezTo>
                    <a:pt x="115" y="39"/>
                    <a:pt x="115" y="39"/>
                    <a:pt x="115" y="39"/>
                  </a:cubicBezTo>
                  <a:cubicBezTo>
                    <a:pt x="115" y="37"/>
                    <a:pt x="113" y="35"/>
                    <a:pt x="111" y="35"/>
                  </a:cubicBezTo>
                  <a:cubicBezTo>
                    <a:pt x="95" y="35"/>
                    <a:pt x="95" y="35"/>
                    <a:pt x="95" y="35"/>
                  </a:cubicBezTo>
                  <a:cubicBezTo>
                    <a:pt x="95" y="27"/>
                    <a:pt x="95" y="27"/>
                    <a:pt x="95" y="27"/>
                  </a:cubicBezTo>
                  <a:cubicBezTo>
                    <a:pt x="95" y="4"/>
                    <a:pt x="95" y="4"/>
                    <a:pt x="95" y="4"/>
                  </a:cubicBezTo>
                  <a:cubicBezTo>
                    <a:pt x="95" y="2"/>
                    <a:pt x="93" y="0"/>
                    <a:pt x="91" y="0"/>
                  </a:cubicBezTo>
                  <a:cubicBezTo>
                    <a:pt x="20" y="0"/>
                    <a:pt x="20" y="0"/>
                    <a:pt x="20" y="0"/>
                  </a:cubicBezTo>
                  <a:cubicBezTo>
                    <a:pt x="17" y="0"/>
                    <a:pt x="15" y="2"/>
                    <a:pt x="15" y="4"/>
                  </a:cubicBezTo>
                  <a:cubicBezTo>
                    <a:pt x="15" y="27"/>
                    <a:pt x="15" y="27"/>
                    <a:pt x="15" y="27"/>
                  </a:cubicBezTo>
                  <a:cubicBezTo>
                    <a:pt x="15" y="42"/>
                    <a:pt x="15" y="42"/>
                    <a:pt x="15" y="42"/>
                  </a:cubicBezTo>
                  <a:cubicBezTo>
                    <a:pt x="15" y="49"/>
                    <a:pt x="15" y="49"/>
                    <a:pt x="15" y="49"/>
                  </a:cubicBezTo>
                  <a:cubicBezTo>
                    <a:pt x="15" y="52"/>
                    <a:pt x="17" y="54"/>
                    <a:pt x="20" y="54"/>
                  </a:cubicBezTo>
                  <a:cubicBezTo>
                    <a:pt x="35" y="54"/>
                    <a:pt x="35" y="54"/>
                    <a:pt x="35" y="54"/>
                  </a:cubicBezTo>
                  <a:cubicBezTo>
                    <a:pt x="35" y="61"/>
                    <a:pt x="35" y="61"/>
                    <a:pt x="35" y="61"/>
                  </a:cubicBezTo>
                  <a:cubicBezTo>
                    <a:pt x="4" y="61"/>
                    <a:pt x="4" y="61"/>
                    <a:pt x="4" y="61"/>
                  </a:cubicBezTo>
                  <a:cubicBezTo>
                    <a:pt x="2" y="61"/>
                    <a:pt x="0" y="63"/>
                    <a:pt x="0" y="65"/>
                  </a:cubicBezTo>
                  <a:cubicBezTo>
                    <a:pt x="0" y="88"/>
                    <a:pt x="0" y="88"/>
                    <a:pt x="0" y="88"/>
                  </a:cubicBezTo>
                  <a:cubicBezTo>
                    <a:pt x="0" y="103"/>
                    <a:pt x="0" y="103"/>
                    <a:pt x="0" y="103"/>
                  </a:cubicBezTo>
                  <a:cubicBezTo>
                    <a:pt x="0" y="110"/>
                    <a:pt x="0" y="110"/>
                    <a:pt x="0" y="110"/>
                  </a:cubicBezTo>
                  <a:cubicBezTo>
                    <a:pt x="0" y="113"/>
                    <a:pt x="2" y="115"/>
                    <a:pt x="4" y="115"/>
                  </a:cubicBezTo>
                  <a:close/>
                  <a:moveTo>
                    <a:pt x="4" y="63"/>
                  </a:moveTo>
                  <a:cubicBezTo>
                    <a:pt x="75" y="63"/>
                    <a:pt x="75" y="63"/>
                    <a:pt x="75" y="63"/>
                  </a:cubicBezTo>
                  <a:cubicBezTo>
                    <a:pt x="76" y="63"/>
                    <a:pt x="77" y="64"/>
                    <a:pt x="77" y="65"/>
                  </a:cubicBezTo>
                  <a:cubicBezTo>
                    <a:pt x="77" y="88"/>
                    <a:pt x="77" y="88"/>
                    <a:pt x="77" y="88"/>
                  </a:cubicBezTo>
                  <a:cubicBezTo>
                    <a:pt x="2" y="88"/>
                    <a:pt x="2" y="88"/>
                    <a:pt x="2" y="88"/>
                  </a:cubicBezTo>
                  <a:cubicBezTo>
                    <a:pt x="2" y="65"/>
                    <a:pt x="2" y="65"/>
                    <a:pt x="2" y="65"/>
                  </a:cubicBezTo>
                  <a:cubicBezTo>
                    <a:pt x="2" y="64"/>
                    <a:pt x="3" y="63"/>
                    <a:pt x="4" y="63"/>
                  </a:cubicBezTo>
                  <a:close/>
                  <a:moveTo>
                    <a:pt x="18" y="49"/>
                  </a:moveTo>
                  <a:cubicBezTo>
                    <a:pt x="18" y="42"/>
                    <a:pt x="18" y="42"/>
                    <a:pt x="18" y="42"/>
                  </a:cubicBezTo>
                  <a:cubicBezTo>
                    <a:pt x="35" y="42"/>
                    <a:pt x="35" y="42"/>
                    <a:pt x="35" y="42"/>
                  </a:cubicBezTo>
                  <a:cubicBezTo>
                    <a:pt x="35" y="51"/>
                    <a:pt x="35" y="51"/>
                    <a:pt x="35" y="51"/>
                  </a:cubicBezTo>
                  <a:cubicBezTo>
                    <a:pt x="20" y="51"/>
                    <a:pt x="20" y="51"/>
                    <a:pt x="20" y="51"/>
                  </a:cubicBezTo>
                  <a:cubicBezTo>
                    <a:pt x="19" y="51"/>
                    <a:pt x="18" y="50"/>
                    <a:pt x="18" y="49"/>
                  </a:cubicBezTo>
                  <a:close/>
                  <a:moveTo>
                    <a:pt x="20" y="3"/>
                  </a:moveTo>
                  <a:cubicBezTo>
                    <a:pt x="91" y="3"/>
                    <a:pt x="91" y="3"/>
                    <a:pt x="91" y="3"/>
                  </a:cubicBezTo>
                  <a:cubicBezTo>
                    <a:pt x="92" y="3"/>
                    <a:pt x="93" y="3"/>
                    <a:pt x="93" y="4"/>
                  </a:cubicBezTo>
                  <a:cubicBezTo>
                    <a:pt x="93" y="27"/>
                    <a:pt x="93" y="27"/>
                    <a:pt x="93" y="27"/>
                  </a:cubicBezTo>
                  <a:cubicBezTo>
                    <a:pt x="18" y="27"/>
                    <a:pt x="18" y="27"/>
                    <a:pt x="18" y="27"/>
                  </a:cubicBezTo>
                  <a:cubicBezTo>
                    <a:pt x="18" y="4"/>
                    <a:pt x="18" y="4"/>
                    <a:pt x="18" y="4"/>
                  </a:cubicBezTo>
                  <a:cubicBezTo>
                    <a:pt x="18" y="3"/>
                    <a:pt x="19" y="3"/>
                    <a:pt x="20" y="3"/>
                  </a:cubicBezTo>
                  <a:close/>
                  <a:moveTo>
                    <a:pt x="38" y="39"/>
                  </a:moveTo>
                  <a:cubicBezTo>
                    <a:pt x="38" y="39"/>
                    <a:pt x="38" y="38"/>
                    <a:pt x="39" y="38"/>
                  </a:cubicBezTo>
                  <a:cubicBezTo>
                    <a:pt x="111" y="38"/>
                    <a:pt x="111" y="38"/>
                    <a:pt x="111" y="38"/>
                  </a:cubicBezTo>
                  <a:cubicBezTo>
                    <a:pt x="112" y="38"/>
                    <a:pt x="112" y="39"/>
                    <a:pt x="112" y="39"/>
                  </a:cubicBezTo>
                  <a:cubicBezTo>
                    <a:pt x="112" y="63"/>
                    <a:pt x="112" y="63"/>
                    <a:pt x="112" y="63"/>
                  </a:cubicBezTo>
                  <a:cubicBezTo>
                    <a:pt x="79" y="63"/>
                    <a:pt x="79" y="63"/>
                    <a:pt x="79" y="63"/>
                  </a:cubicBezTo>
                  <a:cubicBezTo>
                    <a:pt x="78" y="62"/>
                    <a:pt x="77" y="61"/>
                    <a:pt x="75" y="61"/>
                  </a:cubicBezTo>
                  <a:cubicBezTo>
                    <a:pt x="38" y="61"/>
                    <a:pt x="38" y="61"/>
                    <a:pt x="38" y="61"/>
                  </a:cubicBezTo>
                  <a:lnTo>
                    <a:pt x="38" y="39"/>
                  </a:lnTo>
                  <a:close/>
                  <a:moveTo>
                    <a:pt x="111" y="86"/>
                  </a:moveTo>
                  <a:cubicBezTo>
                    <a:pt x="79" y="86"/>
                    <a:pt x="79" y="86"/>
                    <a:pt x="79" y="86"/>
                  </a:cubicBezTo>
                  <a:cubicBezTo>
                    <a:pt x="79" y="77"/>
                    <a:pt x="79" y="77"/>
                    <a:pt x="79" y="77"/>
                  </a:cubicBezTo>
                  <a:cubicBezTo>
                    <a:pt x="112" y="77"/>
                    <a:pt x="112" y="77"/>
                    <a:pt x="112" y="77"/>
                  </a:cubicBezTo>
                  <a:cubicBezTo>
                    <a:pt x="112" y="85"/>
                    <a:pt x="112" y="85"/>
                    <a:pt x="112" y="85"/>
                  </a:cubicBezTo>
                  <a:cubicBezTo>
                    <a:pt x="112" y="86"/>
                    <a:pt x="112" y="86"/>
                    <a:pt x="111" y="86"/>
                  </a:cubicBezTo>
                  <a:close/>
                  <a:moveTo>
                    <a:pt x="77" y="103"/>
                  </a:moveTo>
                  <a:cubicBezTo>
                    <a:pt x="77" y="110"/>
                    <a:pt x="77" y="110"/>
                    <a:pt x="77" y="110"/>
                  </a:cubicBezTo>
                  <a:cubicBezTo>
                    <a:pt x="77" y="111"/>
                    <a:pt x="76" y="112"/>
                    <a:pt x="75" y="112"/>
                  </a:cubicBezTo>
                  <a:cubicBezTo>
                    <a:pt x="4" y="112"/>
                    <a:pt x="4" y="112"/>
                    <a:pt x="4" y="112"/>
                  </a:cubicBezTo>
                  <a:cubicBezTo>
                    <a:pt x="3" y="112"/>
                    <a:pt x="2" y="111"/>
                    <a:pt x="2" y="110"/>
                  </a:cubicBezTo>
                  <a:cubicBezTo>
                    <a:pt x="2" y="103"/>
                    <a:pt x="2" y="103"/>
                    <a:pt x="2" y="103"/>
                  </a:cubicBezTo>
                  <a:lnTo>
                    <a:pt x="77" y="103"/>
                  </a:lnTo>
                  <a:close/>
                </a:path>
              </a:pathLst>
            </a:custGeom>
            <a:solidFill>
              <a:schemeClr val="bg1"/>
            </a:solidFill>
            <a:ln>
              <a:noFill/>
            </a:ln>
            <a:scene3d>
              <a:camera prst="perspectiveFront" fov="7200000">
                <a:rot lat="900000" lon="1800000" rev="0"/>
              </a:camera>
              <a:lightRig rig="threePt" dir="t"/>
            </a:scene3d>
          </p:spPr>
          <p:txBody>
            <a:bodyPr vert="horz" wrap="square" lIns="91440" tIns="45720" rIns="91440" bIns="45720" numCol="1" anchor="t" anchorCtr="0" compatLnSpc="1"/>
            <a:lstStyle/>
            <a:p>
              <a:endParaRPr lang="zh-CN" altLang="en-US"/>
            </a:p>
          </p:txBody>
        </p:sp>
      </p:grpSp>
      <p:sp>
        <p:nvSpPr>
          <p:cNvPr id="52" name="淘宝网chenying0907出品 113"/>
          <p:cNvSpPr/>
          <p:nvPr/>
        </p:nvSpPr>
        <p:spPr>
          <a:xfrm>
            <a:off x="3753431" y="239174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a:stCxn id="52" idx="6"/>
          </p:cNvCxnSpPr>
          <p:nvPr/>
        </p:nvCxnSpPr>
        <p:spPr>
          <a:xfrm>
            <a:off x="3940957" y="2485509"/>
            <a:ext cx="1207108"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2359971" y="1619001"/>
            <a:ext cx="2788094"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sp>
        <p:nvSpPr>
          <p:cNvPr id="55" name="淘宝网chenying0907出品 116"/>
          <p:cNvSpPr/>
          <p:nvPr/>
        </p:nvSpPr>
        <p:spPr>
          <a:xfrm>
            <a:off x="2162521" y="1525238"/>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淘宝网chenying0907出品 117"/>
          <p:cNvSpPr/>
          <p:nvPr/>
        </p:nvSpPr>
        <p:spPr>
          <a:xfrm>
            <a:off x="3753431" y="314781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40956" y="3241578"/>
            <a:ext cx="1207108"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sp>
        <p:nvSpPr>
          <p:cNvPr id="58" name="淘宝网chenying0907出品 119"/>
          <p:cNvSpPr/>
          <p:nvPr/>
        </p:nvSpPr>
        <p:spPr>
          <a:xfrm>
            <a:off x="2111400" y="359819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9" name="直接连接符 58"/>
          <p:cNvCxnSpPr/>
          <p:nvPr/>
        </p:nvCxnSpPr>
        <p:spPr>
          <a:xfrm>
            <a:off x="2271120" y="3734197"/>
            <a:ext cx="529599" cy="277714"/>
          </a:xfrm>
          <a:prstGeom prst="line">
            <a:avLst/>
          </a:prstGeom>
          <a:ln>
            <a:solidFill>
              <a:srgbClr val="2C53B6"/>
            </a:solidFill>
          </a:ln>
        </p:spPr>
        <p:style>
          <a:lnRef idx="1">
            <a:schemeClr val="accent1"/>
          </a:lnRef>
          <a:fillRef idx="0">
            <a:schemeClr val="accent1"/>
          </a:fillRef>
          <a:effectRef idx="0">
            <a:schemeClr val="accent1"/>
          </a:effectRef>
          <a:fontRef idx="minor">
            <a:schemeClr val="tx1"/>
          </a:fontRef>
        </p:style>
      </p:cxnSp>
      <p:sp>
        <p:nvSpPr>
          <p:cNvPr id="60" name="淘宝网chenying0907出品 1"/>
          <p:cNvSpPr>
            <a:spLocks noChangeArrowheads="1"/>
          </p:cNvSpPr>
          <p:nvPr/>
        </p:nvSpPr>
        <p:spPr bwMode="auto">
          <a:xfrm>
            <a:off x="5360964" y="3766270"/>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对知识挖掘和信息直观。</a:t>
            </a:r>
          </a:p>
        </p:txBody>
      </p:sp>
      <p:cxnSp>
        <p:nvCxnSpPr>
          <p:cNvPr id="61" name="直接连接符 60"/>
          <p:cNvCxnSpPr/>
          <p:nvPr/>
        </p:nvCxnSpPr>
        <p:spPr>
          <a:xfrm flipH="1">
            <a:off x="2800719" y="4011911"/>
            <a:ext cx="2347345" cy="0"/>
          </a:xfrm>
          <a:prstGeom prst="line">
            <a:avLst/>
          </a:prstGeom>
          <a:ln>
            <a:solidFill>
              <a:srgbClr val="2C53B6"/>
            </a:solidFill>
            <a:headEnd type="diamond"/>
            <a:tailEnd type="none"/>
          </a:ln>
        </p:spPr>
        <p:style>
          <a:lnRef idx="1">
            <a:schemeClr val="accent1"/>
          </a:lnRef>
          <a:fillRef idx="0">
            <a:schemeClr val="accent1"/>
          </a:fillRef>
          <a:effectRef idx="0">
            <a:schemeClr val="accent1"/>
          </a:effectRef>
          <a:fontRef idx="minor">
            <a:schemeClr val="tx1"/>
          </a:fontRef>
        </p:style>
      </p:cxnSp>
      <p:sp>
        <p:nvSpPr>
          <p:cNvPr id="62"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3" name="矩形 62"/>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400" advClick="0" advTm="6513">
        <p14:doors dir="vert"/>
      </p:transition>
    </mc:Choice>
    <mc:Fallback xmlns="">
      <p:transition spd="slow" advClick="0" advTm="651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2" presetClass="entr" presetSubtype="1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300" fill="hold"/>
                                            <p:tgtEl>
                                              <p:spTgt spid="44"/>
                                            </p:tgtEl>
                                            <p:attrNameLst>
                                              <p:attrName>ppt_x</p:attrName>
                                            </p:attrNameLst>
                                          </p:cBhvr>
                                          <p:tavLst>
                                            <p:tav tm="0">
                                              <p:val>
                                                <p:strVal val="0-#ppt_w/2"/>
                                              </p:val>
                                            </p:tav>
                                            <p:tav tm="100000">
                                              <p:val>
                                                <p:strVal val="#ppt_x"/>
                                              </p:val>
                                            </p:tav>
                                          </p:tavLst>
                                        </p:anim>
                                        <p:anim calcmode="lin" valueType="num">
                                          <p:cBhvr additive="base">
                                            <p:cTn id="12" dur="3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300" fill="hold"/>
                                            <p:tgtEl>
                                              <p:spTgt spid="49"/>
                                            </p:tgtEl>
                                            <p:attrNameLst>
                                              <p:attrName>ppt_x</p:attrName>
                                            </p:attrNameLst>
                                          </p:cBhvr>
                                          <p:tavLst>
                                            <p:tav tm="0">
                                              <p:val>
                                                <p:strVal val="1+#ppt_w/2"/>
                                              </p:val>
                                            </p:tav>
                                            <p:tav tm="100000">
                                              <p:val>
                                                <p:strVal val="#ppt_x"/>
                                              </p:val>
                                            </p:tav>
                                          </p:tavLst>
                                        </p:anim>
                                        <p:anim calcmode="lin" valueType="num">
                                          <p:cBhvr additive="base">
                                            <p:cTn id="16" dur="300" fill="hold"/>
                                            <p:tgtEl>
                                              <p:spTgt spid="49"/>
                                            </p:tgtEl>
                                            <p:attrNameLst>
                                              <p:attrName>ppt_y</p:attrName>
                                            </p:attrNameLst>
                                          </p:cBhvr>
                                          <p:tavLst>
                                            <p:tav tm="0">
                                              <p:val>
                                                <p:strVal val="0-#ppt_h/2"/>
                                              </p:val>
                                            </p:tav>
                                            <p:tav tm="100000">
                                              <p:val>
                                                <p:strVal val="#ppt_y"/>
                                              </p:val>
                                            </p:tav>
                                          </p:tavLst>
                                        </p:anim>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200"/>
                                            <p:tgtEl>
                                              <p:spTgt spid="55"/>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200"/>
                                            <p:tgtEl>
                                              <p:spTgt spid="52"/>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00"/>
                                            <p:tgtEl>
                                              <p:spTgt spid="56"/>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200"/>
                                            <p:tgtEl>
                                              <p:spTgt spid="58"/>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wipe(left)">
                                          <p:cBhvr>
                                            <p:cTn id="36" dur="300"/>
                                            <p:tgtEl>
                                              <p:spTgt spid="54"/>
                                            </p:tgtEl>
                                          </p:cBhvr>
                                        </p:animEffect>
                                      </p:childTnLst>
                                    </p:cTn>
                                  </p:par>
                                </p:childTnLst>
                              </p:cTn>
                            </p:par>
                            <p:par>
                              <p:cTn id="37" fill="hold">
                                <p:stCondLst>
                                  <p:cond delay="3500"/>
                                </p:stCondLst>
                                <p:childTnLst>
                                  <p:par>
                                    <p:cTn id="38" presetID="2" presetClass="entr" presetSubtype="8" fill="hold" grpId="0" nodeType="afterEffect" p14:presetBounceEnd="52000">
                                      <p:stCondLst>
                                        <p:cond delay="0"/>
                                      </p:stCondLst>
                                      <p:childTnLst>
                                        <p:set>
                                          <p:cBhvr>
                                            <p:cTn id="39" dur="1" fill="hold">
                                              <p:stCondLst>
                                                <p:cond delay="0"/>
                                              </p:stCondLst>
                                            </p:cTn>
                                            <p:tgtEl>
                                              <p:spTgt spid="38"/>
                                            </p:tgtEl>
                                            <p:attrNameLst>
                                              <p:attrName>style.visibility</p:attrName>
                                            </p:attrNameLst>
                                          </p:cBhvr>
                                          <p:to>
                                            <p:strVal val="visible"/>
                                          </p:to>
                                        </p:set>
                                        <p:anim calcmode="lin" valueType="num" p14:bounceEnd="52000">
                                          <p:cBhvr additive="base">
                                            <p:cTn id="40" dur="500" fill="hold"/>
                                            <p:tgtEl>
                                              <p:spTgt spid="38"/>
                                            </p:tgtEl>
                                            <p:attrNameLst>
                                              <p:attrName>ppt_x</p:attrName>
                                            </p:attrNameLst>
                                          </p:cBhvr>
                                          <p:tavLst>
                                            <p:tav tm="0">
                                              <p:val>
                                                <p:strVal val="0-#ppt_w/2"/>
                                              </p:val>
                                            </p:tav>
                                            <p:tav tm="100000">
                                              <p:val>
                                                <p:strVal val="#ppt_x"/>
                                              </p:val>
                                            </p:tav>
                                          </p:tavLst>
                                        </p:anim>
                                        <p:anim calcmode="lin" valueType="num" p14:bounceEnd="52000">
                                          <p:cBhvr additive="base">
                                            <p:cTn id="41" dur="500" fill="hold"/>
                                            <p:tgtEl>
                                              <p:spTgt spid="38"/>
                                            </p:tgtEl>
                                            <p:attrNameLst>
                                              <p:attrName>ppt_y</p:attrName>
                                            </p:attrNameLst>
                                          </p:cBhvr>
                                          <p:tavLst>
                                            <p:tav tm="0">
                                              <p:val>
                                                <p:strVal val="#ppt_y"/>
                                              </p:val>
                                            </p:tav>
                                            <p:tav tm="100000">
                                              <p:val>
                                                <p:strVal val="#ppt_y"/>
                                              </p:val>
                                            </p:tav>
                                          </p:tavLst>
                                        </p:anim>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left)">
                                          <p:cBhvr>
                                            <p:cTn id="45" dur="300"/>
                                            <p:tgtEl>
                                              <p:spTgt spid="53"/>
                                            </p:tgtEl>
                                          </p:cBhvr>
                                        </p:animEffect>
                                      </p:childTnLst>
                                    </p:cTn>
                                  </p:par>
                                </p:childTnLst>
                              </p:cTn>
                            </p:par>
                            <p:par>
                              <p:cTn id="46" fill="hold">
                                <p:stCondLst>
                                  <p:cond delay="4500"/>
                                </p:stCondLst>
                                <p:childTnLst>
                                  <p:par>
                                    <p:cTn id="47" presetID="2" presetClass="entr" presetSubtype="8" fill="hold" grpId="0" nodeType="afterEffect" p14:presetBounceEnd="52000">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14:bounceEnd="52000">
                                          <p:cBhvr additive="base">
                                            <p:cTn id="49" dur="500" fill="hold"/>
                                            <p:tgtEl>
                                              <p:spTgt spid="39"/>
                                            </p:tgtEl>
                                            <p:attrNameLst>
                                              <p:attrName>ppt_x</p:attrName>
                                            </p:attrNameLst>
                                          </p:cBhvr>
                                          <p:tavLst>
                                            <p:tav tm="0">
                                              <p:val>
                                                <p:strVal val="0-#ppt_w/2"/>
                                              </p:val>
                                            </p:tav>
                                            <p:tav tm="100000">
                                              <p:val>
                                                <p:strVal val="#ppt_x"/>
                                              </p:val>
                                            </p:tav>
                                          </p:tavLst>
                                        </p:anim>
                                        <p:anim calcmode="lin" valueType="num" p14:bounceEnd="52000">
                                          <p:cBhvr additive="base">
                                            <p:cTn id="50" dur="500" fill="hold"/>
                                            <p:tgtEl>
                                              <p:spTgt spid="39"/>
                                            </p:tgtEl>
                                            <p:attrNameLst>
                                              <p:attrName>ppt_y</p:attrName>
                                            </p:attrNameLst>
                                          </p:cBhvr>
                                          <p:tavLst>
                                            <p:tav tm="0">
                                              <p:val>
                                                <p:strVal val="#ppt_y"/>
                                              </p:val>
                                            </p:tav>
                                            <p:tav tm="100000">
                                              <p:val>
                                                <p:strVal val="#ppt_y"/>
                                              </p:val>
                                            </p:tav>
                                          </p:tavLst>
                                        </p:anim>
                                      </p:childTnLst>
                                    </p:cTn>
                                  </p:par>
                                </p:childTnLst>
                              </p:cTn>
                            </p:par>
                            <p:par>
                              <p:cTn id="51" fill="hold">
                                <p:stCondLst>
                                  <p:cond delay="5000"/>
                                </p:stCondLst>
                                <p:childTnLst>
                                  <p:par>
                                    <p:cTn id="52" presetID="22" presetClass="entr" presetSubtype="8"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wipe(left)">
                                          <p:cBhvr>
                                            <p:cTn id="54" dur="300"/>
                                            <p:tgtEl>
                                              <p:spTgt spid="57"/>
                                            </p:tgtEl>
                                          </p:cBhvr>
                                        </p:animEffect>
                                      </p:childTnLst>
                                    </p:cTn>
                                  </p:par>
                                </p:childTnLst>
                              </p:cTn>
                            </p:par>
                            <p:par>
                              <p:cTn id="55" fill="hold">
                                <p:stCondLst>
                                  <p:cond delay="5500"/>
                                </p:stCondLst>
                                <p:childTnLst>
                                  <p:par>
                                    <p:cTn id="56" presetID="2" presetClass="entr" presetSubtype="8" fill="hold" grpId="0" nodeType="afterEffect" p14:presetBounceEnd="52000">
                                      <p:stCondLst>
                                        <p:cond delay="0"/>
                                      </p:stCondLst>
                                      <p:childTnLst>
                                        <p:set>
                                          <p:cBhvr>
                                            <p:cTn id="57" dur="1" fill="hold">
                                              <p:stCondLst>
                                                <p:cond delay="0"/>
                                              </p:stCondLst>
                                            </p:cTn>
                                            <p:tgtEl>
                                              <p:spTgt spid="40"/>
                                            </p:tgtEl>
                                            <p:attrNameLst>
                                              <p:attrName>style.visibility</p:attrName>
                                            </p:attrNameLst>
                                          </p:cBhvr>
                                          <p:to>
                                            <p:strVal val="visible"/>
                                          </p:to>
                                        </p:set>
                                        <p:anim calcmode="lin" valueType="num" p14:bounceEnd="52000">
                                          <p:cBhvr additive="base">
                                            <p:cTn id="58" dur="500" fill="hold"/>
                                            <p:tgtEl>
                                              <p:spTgt spid="40"/>
                                            </p:tgtEl>
                                            <p:attrNameLst>
                                              <p:attrName>ppt_x</p:attrName>
                                            </p:attrNameLst>
                                          </p:cBhvr>
                                          <p:tavLst>
                                            <p:tav tm="0">
                                              <p:val>
                                                <p:strVal val="0-#ppt_w/2"/>
                                              </p:val>
                                            </p:tav>
                                            <p:tav tm="100000">
                                              <p:val>
                                                <p:strVal val="#ppt_x"/>
                                              </p:val>
                                            </p:tav>
                                          </p:tavLst>
                                        </p:anim>
                                        <p:anim calcmode="lin" valueType="num" p14:bounceEnd="52000">
                                          <p:cBhvr additive="base">
                                            <p:cTn id="59" dur="500" fill="hold"/>
                                            <p:tgtEl>
                                              <p:spTgt spid="40"/>
                                            </p:tgtEl>
                                            <p:attrNameLst>
                                              <p:attrName>ppt_y</p:attrName>
                                            </p:attrNameLst>
                                          </p:cBhvr>
                                          <p:tavLst>
                                            <p:tav tm="0">
                                              <p:val>
                                                <p:strVal val="#ppt_y"/>
                                              </p:val>
                                            </p:tav>
                                            <p:tav tm="100000">
                                              <p:val>
                                                <p:strVal val="#ppt_y"/>
                                              </p:val>
                                            </p:tav>
                                          </p:tavLst>
                                        </p:anim>
                                      </p:childTnLst>
                                    </p:cTn>
                                  </p:par>
                                </p:childTnLst>
                              </p:cTn>
                            </p:par>
                            <p:par>
                              <p:cTn id="60" fill="hold">
                                <p:stCondLst>
                                  <p:cond delay="6000"/>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300"/>
                                            <p:tgtEl>
                                              <p:spTgt spid="59"/>
                                            </p:tgtEl>
                                          </p:cBhvr>
                                        </p:animEffect>
                                      </p:childTnLst>
                                    </p:cTn>
                                  </p:par>
                                </p:childTnLst>
                              </p:cTn>
                            </p:par>
                            <p:par>
                              <p:cTn id="64" fill="hold">
                                <p:stCondLst>
                                  <p:cond delay="6500"/>
                                </p:stCondLst>
                                <p:childTnLst>
                                  <p:par>
                                    <p:cTn id="65" presetID="22" presetClass="entr" presetSubtype="8" fill="hold"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wipe(left)">
                                          <p:cBhvr>
                                            <p:cTn id="67" dur="300"/>
                                            <p:tgtEl>
                                              <p:spTgt spid="61"/>
                                            </p:tgtEl>
                                          </p:cBhvr>
                                        </p:animEffect>
                                      </p:childTnLst>
                                    </p:cTn>
                                  </p:par>
                                </p:childTnLst>
                              </p:cTn>
                            </p:par>
                            <p:par>
                              <p:cTn id="68" fill="hold">
                                <p:stCondLst>
                                  <p:cond delay="7000"/>
                                </p:stCondLst>
                                <p:childTnLst>
                                  <p:par>
                                    <p:cTn id="69" presetID="2" presetClass="entr" presetSubtype="8" fill="hold" grpId="0" nodeType="afterEffect" p14:presetBounceEnd="52000">
                                      <p:stCondLst>
                                        <p:cond delay="0"/>
                                      </p:stCondLst>
                                      <p:childTnLst>
                                        <p:set>
                                          <p:cBhvr>
                                            <p:cTn id="70" dur="1" fill="hold">
                                              <p:stCondLst>
                                                <p:cond delay="0"/>
                                              </p:stCondLst>
                                            </p:cTn>
                                            <p:tgtEl>
                                              <p:spTgt spid="60"/>
                                            </p:tgtEl>
                                            <p:attrNameLst>
                                              <p:attrName>style.visibility</p:attrName>
                                            </p:attrNameLst>
                                          </p:cBhvr>
                                          <p:to>
                                            <p:strVal val="visible"/>
                                          </p:to>
                                        </p:set>
                                        <p:anim calcmode="lin" valueType="num" p14:bounceEnd="52000">
                                          <p:cBhvr additive="base">
                                            <p:cTn id="71" dur="500" fill="hold"/>
                                            <p:tgtEl>
                                              <p:spTgt spid="60"/>
                                            </p:tgtEl>
                                            <p:attrNameLst>
                                              <p:attrName>ppt_x</p:attrName>
                                            </p:attrNameLst>
                                          </p:cBhvr>
                                          <p:tavLst>
                                            <p:tav tm="0">
                                              <p:val>
                                                <p:strVal val="0-#ppt_w/2"/>
                                              </p:val>
                                            </p:tav>
                                            <p:tav tm="100000">
                                              <p:val>
                                                <p:strVal val="#ppt_x"/>
                                              </p:val>
                                            </p:tav>
                                          </p:tavLst>
                                        </p:anim>
                                        <p:anim calcmode="lin" valueType="num" p14:bounceEnd="52000">
                                          <p:cBhvr additive="base">
                                            <p:cTn id="72"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1" grpId="0" animBg="1"/>
          <p:bldP spid="52" grpId="0" animBg="1"/>
          <p:bldP spid="55" grpId="0" animBg="1"/>
          <p:bldP spid="56" grpId="0" animBg="1"/>
          <p:bldP spid="58" grpId="0" animBg="1"/>
          <p:bldP spid="60"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2" presetClass="entr" presetSubtype="1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300" fill="hold"/>
                                            <p:tgtEl>
                                              <p:spTgt spid="44"/>
                                            </p:tgtEl>
                                            <p:attrNameLst>
                                              <p:attrName>ppt_x</p:attrName>
                                            </p:attrNameLst>
                                          </p:cBhvr>
                                          <p:tavLst>
                                            <p:tav tm="0">
                                              <p:val>
                                                <p:strVal val="0-#ppt_w/2"/>
                                              </p:val>
                                            </p:tav>
                                            <p:tav tm="100000">
                                              <p:val>
                                                <p:strVal val="#ppt_x"/>
                                              </p:val>
                                            </p:tav>
                                          </p:tavLst>
                                        </p:anim>
                                        <p:anim calcmode="lin" valueType="num">
                                          <p:cBhvr additive="base">
                                            <p:cTn id="12" dur="3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300" fill="hold"/>
                                            <p:tgtEl>
                                              <p:spTgt spid="49"/>
                                            </p:tgtEl>
                                            <p:attrNameLst>
                                              <p:attrName>ppt_x</p:attrName>
                                            </p:attrNameLst>
                                          </p:cBhvr>
                                          <p:tavLst>
                                            <p:tav tm="0">
                                              <p:val>
                                                <p:strVal val="1+#ppt_w/2"/>
                                              </p:val>
                                            </p:tav>
                                            <p:tav tm="100000">
                                              <p:val>
                                                <p:strVal val="#ppt_x"/>
                                              </p:val>
                                            </p:tav>
                                          </p:tavLst>
                                        </p:anim>
                                        <p:anim calcmode="lin" valueType="num">
                                          <p:cBhvr additive="base">
                                            <p:cTn id="16" dur="300" fill="hold"/>
                                            <p:tgtEl>
                                              <p:spTgt spid="49"/>
                                            </p:tgtEl>
                                            <p:attrNameLst>
                                              <p:attrName>ppt_y</p:attrName>
                                            </p:attrNameLst>
                                          </p:cBhvr>
                                          <p:tavLst>
                                            <p:tav tm="0">
                                              <p:val>
                                                <p:strVal val="0-#ppt_h/2"/>
                                              </p:val>
                                            </p:tav>
                                            <p:tav tm="100000">
                                              <p:val>
                                                <p:strVal val="#ppt_y"/>
                                              </p:val>
                                            </p:tav>
                                          </p:tavLst>
                                        </p:anim>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200"/>
                                            <p:tgtEl>
                                              <p:spTgt spid="55"/>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200"/>
                                            <p:tgtEl>
                                              <p:spTgt spid="52"/>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00"/>
                                            <p:tgtEl>
                                              <p:spTgt spid="56"/>
                                            </p:tgtEl>
                                          </p:cBhvr>
                                        </p:animEffect>
                                      </p:childTnLst>
                                    </p:cTn>
                                  </p:par>
                                </p:childTnLst>
                              </p:cTn>
                            </p:par>
                            <p:par>
                              <p:cTn id="29" fill="hold">
                                <p:stCondLst>
                                  <p:cond delay="2500"/>
                                </p:stCondLst>
                                <p:childTnLst>
                                  <p:par>
                                    <p:cTn id="30" presetID="10" presetClass="entr" presetSubtype="0" fill="hold" grpId="0"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200"/>
                                            <p:tgtEl>
                                              <p:spTgt spid="58"/>
                                            </p:tgtEl>
                                          </p:cBhvr>
                                        </p:animEffect>
                                      </p:childTnLst>
                                    </p:cTn>
                                  </p:par>
                                </p:childTnLst>
                              </p:cTn>
                            </p:par>
                            <p:par>
                              <p:cTn id="33" fill="hold">
                                <p:stCondLst>
                                  <p:cond delay="3000"/>
                                </p:stCondLst>
                                <p:childTnLst>
                                  <p:par>
                                    <p:cTn id="34" presetID="22" presetClass="entr" presetSubtype="8" fill="hold" nodeType="after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wipe(left)">
                                          <p:cBhvr>
                                            <p:cTn id="36" dur="300"/>
                                            <p:tgtEl>
                                              <p:spTgt spid="54"/>
                                            </p:tgtEl>
                                          </p:cBhvr>
                                        </p:animEffect>
                                      </p:childTnLst>
                                    </p:cTn>
                                  </p:par>
                                </p:childTnLst>
                              </p:cTn>
                            </p:par>
                            <p:par>
                              <p:cTn id="37" fill="hold">
                                <p:stCondLst>
                                  <p:cond delay="3500"/>
                                </p:stCondLst>
                                <p:childTnLst>
                                  <p:par>
                                    <p:cTn id="38" presetID="2" presetClass="entr" presetSubtype="8" fill="hold" grpId="0" nodeType="afterEffect">
                                      <p:stCondLst>
                                        <p:cond delay="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500" fill="hold"/>
                                            <p:tgtEl>
                                              <p:spTgt spid="38"/>
                                            </p:tgtEl>
                                            <p:attrNameLst>
                                              <p:attrName>ppt_x</p:attrName>
                                            </p:attrNameLst>
                                          </p:cBhvr>
                                          <p:tavLst>
                                            <p:tav tm="0">
                                              <p:val>
                                                <p:strVal val="0-#ppt_w/2"/>
                                              </p:val>
                                            </p:tav>
                                            <p:tav tm="100000">
                                              <p:val>
                                                <p:strVal val="#ppt_x"/>
                                              </p:val>
                                            </p:tav>
                                          </p:tavLst>
                                        </p:anim>
                                        <p:anim calcmode="lin" valueType="num">
                                          <p:cBhvr additive="base">
                                            <p:cTn id="41" dur="500" fill="hold"/>
                                            <p:tgtEl>
                                              <p:spTgt spid="38"/>
                                            </p:tgtEl>
                                            <p:attrNameLst>
                                              <p:attrName>ppt_y</p:attrName>
                                            </p:attrNameLst>
                                          </p:cBhvr>
                                          <p:tavLst>
                                            <p:tav tm="0">
                                              <p:val>
                                                <p:strVal val="#ppt_y"/>
                                              </p:val>
                                            </p:tav>
                                            <p:tav tm="100000">
                                              <p:val>
                                                <p:strVal val="#ppt_y"/>
                                              </p:val>
                                            </p:tav>
                                          </p:tavLst>
                                        </p:anim>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left)">
                                          <p:cBhvr>
                                            <p:cTn id="45" dur="300"/>
                                            <p:tgtEl>
                                              <p:spTgt spid="53"/>
                                            </p:tgtEl>
                                          </p:cBhvr>
                                        </p:animEffect>
                                      </p:childTnLst>
                                    </p:cTn>
                                  </p:par>
                                </p:childTnLst>
                              </p:cTn>
                            </p:par>
                            <p:par>
                              <p:cTn id="46" fill="hold">
                                <p:stCondLst>
                                  <p:cond delay="4500"/>
                                </p:stCondLst>
                                <p:childTnLst>
                                  <p:par>
                                    <p:cTn id="47" presetID="2" presetClass="entr" presetSubtype="8" fill="hold" grpId="0" nodeType="afterEffect">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cBhvr additive="base">
                                            <p:cTn id="49" dur="500" fill="hold"/>
                                            <p:tgtEl>
                                              <p:spTgt spid="39"/>
                                            </p:tgtEl>
                                            <p:attrNameLst>
                                              <p:attrName>ppt_x</p:attrName>
                                            </p:attrNameLst>
                                          </p:cBhvr>
                                          <p:tavLst>
                                            <p:tav tm="0">
                                              <p:val>
                                                <p:strVal val="0-#ppt_w/2"/>
                                              </p:val>
                                            </p:tav>
                                            <p:tav tm="100000">
                                              <p:val>
                                                <p:strVal val="#ppt_x"/>
                                              </p:val>
                                            </p:tav>
                                          </p:tavLst>
                                        </p:anim>
                                        <p:anim calcmode="lin" valueType="num">
                                          <p:cBhvr additive="base">
                                            <p:cTn id="50" dur="500" fill="hold"/>
                                            <p:tgtEl>
                                              <p:spTgt spid="39"/>
                                            </p:tgtEl>
                                            <p:attrNameLst>
                                              <p:attrName>ppt_y</p:attrName>
                                            </p:attrNameLst>
                                          </p:cBhvr>
                                          <p:tavLst>
                                            <p:tav tm="0">
                                              <p:val>
                                                <p:strVal val="#ppt_y"/>
                                              </p:val>
                                            </p:tav>
                                            <p:tav tm="100000">
                                              <p:val>
                                                <p:strVal val="#ppt_y"/>
                                              </p:val>
                                            </p:tav>
                                          </p:tavLst>
                                        </p:anim>
                                      </p:childTnLst>
                                    </p:cTn>
                                  </p:par>
                                </p:childTnLst>
                              </p:cTn>
                            </p:par>
                            <p:par>
                              <p:cTn id="51" fill="hold">
                                <p:stCondLst>
                                  <p:cond delay="5000"/>
                                </p:stCondLst>
                                <p:childTnLst>
                                  <p:par>
                                    <p:cTn id="52" presetID="22" presetClass="entr" presetSubtype="8"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wipe(left)">
                                          <p:cBhvr>
                                            <p:cTn id="54" dur="300"/>
                                            <p:tgtEl>
                                              <p:spTgt spid="57"/>
                                            </p:tgtEl>
                                          </p:cBhvr>
                                        </p:animEffect>
                                      </p:childTnLst>
                                    </p:cTn>
                                  </p:par>
                                </p:childTnLst>
                              </p:cTn>
                            </p:par>
                            <p:par>
                              <p:cTn id="55" fill="hold">
                                <p:stCondLst>
                                  <p:cond delay="5500"/>
                                </p:stCondLst>
                                <p:childTnLst>
                                  <p:par>
                                    <p:cTn id="56" presetID="2" presetClass="entr" presetSubtype="8" fill="hold" grpId="0" nodeType="afterEffect">
                                      <p:stCondLst>
                                        <p:cond delay="0"/>
                                      </p:stCondLst>
                                      <p:childTnLst>
                                        <p:set>
                                          <p:cBhvr>
                                            <p:cTn id="57" dur="1" fill="hold">
                                              <p:stCondLst>
                                                <p:cond delay="0"/>
                                              </p:stCondLst>
                                            </p:cTn>
                                            <p:tgtEl>
                                              <p:spTgt spid="40"/>
                                            </p:tgtEl>
                                            <p:attrNameLst>
                                              <p:attrName>style.visibility</p:attrName>
                                            </p:attrNameLst>
                                          </p:cBhvr>
                                          <p:to>
                                            <p:strVal val="visible"/>
                                          </p:to>
                                        </p:set>
                                        <p:anim calcmode="lin" valueType="num">
                                          <p:cBhvr additive="base">
                                            <p:cTn id="58" dur="500" fill="hold"/>
                                            <p:tgtEl>
                                              <p:spTgt spid="40"/>
                                            </p:tgtEl>
                                            <p:attrNameLst>
                                              <p:attrName>ppt_x</p:attrName>
                                            </p:attrNameLst>
                                          </p:cBhvr>
                                          <p:tavLst>
                                            <p:tav tm="0">
                                              <p:val>
                                                <p:strVal val="0-#ppt_w/2"/>
                                              </p:val>
                                            </p:tav>
                                            <p:tav tm="100000">
                                              <p:val>
                                                <p:strVal val="#ppt_x"/>
                                              </p:val>
                                            </p:tav>
                                          </p:tavLst>
                                        </p:anim>
                                        <p:anim calcmode="lin" valueType="num">
                                          <p:cBhvr additive="base">
                                            <p:cTn id="59" dur="500" fill="hold"/>
                                            <p:tgtEl>
                                              <p:spTgt spid="40"/>
                                            </p:tgtEl>
                                            <p:attrNameLst>
                                              <p:attrName>ppt_y</p:attrName>
                                            </p:attrNameLst>
                                          </p:cBhvr>
                                          <p:tavLst>
                                            <p:tav tm="0">
                                              <p:val>
                                                <p:strVal val="#ppt_y"/>
                                              </p:val>
                                            </p:tav>
                                            <p:tav tm="100000">
                                              <p:val>
                                                <p:strVal val="#ppt_y"/>
                                              </p:val>
                                            </p:tav>
                                          </p:tavLst>
                                        </p:anim>
                                      </p:childTnLst>
                                    </p:cTn>
                                  </p:par>
                                </p:childTnLst>
                              </p:cTn>
                            </p:par>
                            <p:par>
                              <p:cTn id="60" fill="hold">
                                <p:stCondLst>
                                  <p:cond delay="6000"/>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300"/>
                                            <p:tgtEl>
                                              <p:spTgt spid="59"/>
                                            </p:tgtEl>
                                          </p:cBhvr>
                                        </p:animEffect>
                                      </p:childTnLst>
                                    </p:cTn>
                                  </p:par>
                                </p:childTnLst>
                              </p:cTn>
                            </p:par>
                            <p:par>
                              <p:cTn id="64" fill="hold">
                                <p:stCondLst>
                                  <p:cond delay="6500"/>
                                </p:stCondLst>
                                <p:childTnLst>
                                  <p:par>
                                    <p:cTn id="65" presetID="22" presetClass="entr" presetSubtype="8" fill="hold"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wipe(left)">
                                          <p:cBhvr>
                                            <p:cTn id="67" dur="300"/>
                                            <p:tgtEl>
                                              <p:spTgt spid="61"/>
                                            </p:tgtEl>
                                          </p:cBhvr>
                                        </p:animEffect>
                                      </p:childTnLst>
                                    </p:cTn>
                                  </p:par>
                                </p:childTnLst>
                              </p:cTn>
                            </p:par>
                            <p:par>
                              <p:cTn id="68" fill="hold">
                                <p:stCondLst>
                                  <p:cond delay="7000"/>
                                </p:stCondLst>
                                <p:childTnLst>
                                  <p:par>
                                    <p:cTn id="69" presetID="2" presetClass="entr" presetSubtype="8" fill="hold" grpId="0" nodeType="afterEffect">
                                      <p:stCondLst>
                                        <p:cond delay="0"/>
                                      </p:stCondLst>
                                      <p:childTnLst>
                                        <p:set>
                                          <p:cBhvr>
                                            <p:cTn id="70" dur="1" fill="hold">
                                              <p:stCondLst>
                                                <p:cond delay="0"/>
                                              </p:stCondLst>
                                            </p:cTn>
                                            <p:tgtEl>
                                              <p:spTgt spid="60"/>
                                            </p:tgtEl>
                                            <p:attrNameLst>
                                              <p:attrName>style.visibility</p:attrName>
                                            </p:attrNameLst>
                                          </p:cBhvr>
                                          <p:to>
                                            <p:strVal val="visible"/>
                                          </p:to>
                                        </p:set>
                                        <p:anim calcmode="lin" valueType="num">
                                          <p:cBhvr additive="base">
                                            <p:cTn id="71" dur="500" fill="hold"/>
                                            <p:tgtEl>
                                              <p:spTgt spid="60"/>
                                            </p:tgtEl>
                                            <p:attrNameLst>
                                              <p:attrName>ppt_x</p:attrName>
                                            </p:attrNameLst>
                                          </p:cBhvr>
                                          <p:tavLst>
                                            <p:tav tm="0">
                                              <p:val>
                                                <p:strVal val="0-#ppt_w/2"/>
                                              </p:val>
                                            </p:tav>
                                            <p:tav tm="100000">
                                              <p:val>
                                                <p:strVal val="#ppt_x"/>
                                              </p:val>
                                            </p:tav>
                                          </p:tavLst>
                                        </p:anim>
                                        <p:anim calcmode="lin" valueType="num">
                                          <p:cBhvr additive="base">
                                            <p:cTn id="72"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1" grpId="0" animBg="1"/>
          <p:bldP spid="52" grpId="0" animBg="1"/>
          <p:bldP spid="55" grpId="0" animBg="1"/>
          <p:bldP spid="56" grpId="0" animBg="1"/>
          <p:bldP spid="58" grpId="0" animBg="1"/>
          <p:bldP spid="60"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a:spLocks noChangeAspect="1"/>
          </p:cNvSpPr>
          <p:nvPr/>
        </p:nvSpPr>
        <p:spPr>
          <a:xfrm rot="2700000">
            <a:off x="1858907" y="2275206"/>
            <a:ext cx="1504901" cy="1504901"/>
          </a:xfrm>
          <a:prstGeom prst="rect">
            <a:avLst/>
          </a:prstGeom>
          <a:blipFill dpi="0" rotWithShape="0">
            <a:blip r:embed="rId3"/>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19" name="矩形 18"/>
          <p:cNvSpPr>
            <a:spLocks noChangeAspect="1"/>
          </p:cNvSpPr>
          <p:nvPr/>
        </p:nvSpPr>
        <p:spPr>
          <a:xfrm rot="2700000">
            <a:off x="5685081" y="2275207"/>
            <a:ext cx="1504901" cy="1504901"/>
          </a:xfrm>
          <a:prstGeom prst="rect">
            <a:avLst/>
          </a:prstGeom>
          <a:blipFill dpi="0" rotWithShape="0">
            <a:blip r:embed="rId4"/>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grpSp>
        <p:nvGrpSpPr>
          <p:cNvPr id="20" name="组合 19"/>
          <p:cNvGrpSpPr/>
          <p:nvPr/>
        </p:nvGrpSpPr>
        <p:grpSpPr>
          <a:xfrm>
            <a:off x="3073524" y="1574395"/>
            <a:ext cx="1203920" cy="1203921"/>
            <a:chOff x="4155408" y="2142169"/>
            <a:chExt cx="1638090" cy="1638091"/>
          </a:xfrm>
        </p:grpSpPr>
        <p:sp>
          <p:nvSpPr>
            <p:cNvPr id="21" name="矩形 20"/>
            <p:cNvSpPr>
              <a:spLocks noChangeAspect="1"/>
            </p:cNvSpPr>
            <p:nvPr/>
          </p:nvSpPr>
          <p:spPr>
            <a:xfrm rot="2700000">
              <a:off x="4155407" y="214217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2" name="Freeform 48"/>
            <p:cNvSpPr>
              <a:spLocks noEditPoints="1"/>
            </p:cNvSpPr>
            <p:nvPr/>
          </p:nvSpPr>
          <p:spPr bwMode="auto">
            <a:xfrm>
              <a:off x="4726907" y="2199844"/>
              <a:ext cx="486368" cy="465551"/>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23" name="文本框 22"/>
            <p:cNvSpPr txBox="1"/>
            <p:nvPr/>
          </p:nvSpPr>
          <p:spPr>
            <a:xfrm>
              <a:off x="4262205" y="2931166"/>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p>
          </p:txBody>
        </p:sp>
      </p:grpSp>
      <p:grpSp>
        <p:nvGrpSpPr>
          <p:cNvPr id="24" name="组合 23"/>
          <p:cNvGrpSpPr/>
          <p:nvPr/>
        </p:nvGrpSpPr>
        <p:grpSpPr>
          <a:xfrm>
            <a:off x="4776125" y="1574395"/>
            <a:ext cx="1203920" cy="1203921"/>
            <a:chOff x="6472018" y="2142169"/>
            <a:chExt cx="1638090" cy="1638091"/>
          </a:xfrm>
        </p:grpSpPr>
        <p:sp>
          <p:nvSpPr>
            <p:cNvPr id="25" name="矩形 24"/>
            <p:cNvSpPr>
              <a:spLocks noChangeAspect="1"/>
            </p:cNvSpPr>
            <p:nvPr/>
          </p:nvSpPr>
          <p:spPr>
            <a:xfrm rot="2700000">
              <a:off x="6472017" y="214217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6" name="Freeform 31"/>
            <p:cNvSpPr>
              <a:spLocks noEditPoints="1"/>
            </p:cNvSpPr>
            <p:nvPr/>
          </p:nvSpPr>
          <p:spPr bwMode="auto">
            <a:xfrm>
              <a:off x="7097338" y="2289672"/>
              <a:ext cx="374711" cy="471228"/>
            </a:xfrm>
            <a:custGeom>
              <a:avLst/>
              <a:gdLst>
                <a:gd name="T0" fmla="*/ 82 w 484"/>
                <a:gd name="T1" fmla="*/ 166 h 606"/>
                <a:gd name="T2" fmla="*/ 82 w 484"/>
                <a:gd name="T3" fmla="*/ 186 h 606"/>
                <a:gd name="T4" fmla="*/ 331 w 484"/>
                <a:gd name="T5" fmla="*/ 193 h 606"/>
                <a:gd name="T6" fmla="*/ 331 w 484"/>
                <a:gd name="T7" fmla="*/ 173 h 606"/>
                <a:gd name="T8" fmla="*/ 387 w 484"/>
                <a:gd name="T9" fmla="*/ 556 h 606"/>
                <a:gd name="T10" fmla="*/ 388 w 484"/>
                <a:gd name="T11" fmla="*/ 564 h 606"/>
                <a:gd name="T12" fmla="*/ 418 w 484"/>
                <a:gd name="T13" fmla="*/ 594 h 606"/>
                <a:gd name="T14" fmla="*/ 474 w 484"/>
                <a:gd name="T15" fmla="*/ 581 h 606"/>
                <a:gd name="T16" fmla="*/ 474 w 484"/>
                <a:gd name="T17" fmla="*/ 531 h 606"/>
                <a:gd name="T18" fmla="*/ 444 w 484"/>
                <a:gd name="T19" fmla="*/ 501 h 606"/>
                <a:gd name="T20" fmla="*/ 418 w 484"/>
                <a:gd name="T21" fmla="*/ 519 h 606"/>
                <a:gd name="T22" fmla="*/ 384 w 484"/>
                <a:gd name="T23" fmla="*/ 553 h 606"/>
                <a:gd name="T24" fmla="*/ 218 w 484"/>
                <a:gd name="T25" fmla="*/ 354 h 606"/>
                <a:gd name="T26" fmla="*/ 229 w 484"/>
                <a:gd name="T27" fmla="*/ 336 h 606"/>
                <a:gd name="T28" fmla="*/ 207 w 484"/>
                <a:gd name="T29" fmla="*/ 320 h 606"/>
                <a:gd name="T30" fmla="*/ 207 w 484"/>
                <a:gd name="T31" fmla="*/ 327 h 606"/>
                <a:gd name="T32" fmla="*/ 246 w 484"/>
                <a:gd name="T33" fmla="*/ 422 h 606"/>
                <a:gd name="T34" fmla="*/ 297 w 484"/>
                <a:gd name="T35" fmla="*/ 364 h 606"/>
                <a:gd name="T36" fmla="*/ 296 w 484"/>
                <a:gd name="T37" fmla="*/ 357 h 606"/>
                <a:gd name="T38" fmla="*/ 224 w 484"/>
                <a:gd name="T39" fmla="*/ 362 h 606"/>
                <a:gd name="T40" fmla="*/ 224 w 484"/>
                <a:gd name="T41" fmla="*/ 368 h 606"/>
                <a:gd name="T42" fmla="*/ 246 w 484"/>
                <a:gd name="T43" fmla="*/ 422 h 606"/>
                <a:gd name="T44" fmla="*/ 429 w 484"/>
                <a:gd name="T45" fmla="*/ 493 h 606"/>
                <a:gd name="T46" fmla="*/ 429 w 484"/>
                <a:gd name="T47" fmla="*/ 487 h 606"/>
                <a:gd name="T48" fmla="*/ 394 w 484"/>
                <a:gd name="T49" fmla="*/ 451 h 606"/>
                <a:gd name="T50" fmla="*/ 256 w 484"/>
                <a:gd name="T51" fmla="*/ 425 h 606"/>
                <a:gd name="T52" fmla="*/ 256 w 484"/>
                <a:gd name="T53" fmla="*/ 432 h 606"/>
                <a:gd name="T54" fmla="*/ 354 w 484"/>
                <a:gd name="T55" fmla="*/ 530 h 606"/>
                <a:gd name="T56" fmla="*/ 395 w 484"/>
                <a:gd name="T57" fmla="*/ 528 h 606"/>
                <a:gd name="T58" fmla="*/ 20 w 484"/>
                <a:gd name="T59" fmla="*/ 150 h 606"/>
                <a:gd name="T60" fmla="*/ 89 w 484"/>
                <a:gd name="T61" fmla="*/ 152 h 606"/>
                <a:gd name="T62" fmla="*/ 141 w 484"/>
                <a:gd name="T63" fmla="*/ 100 h 606"/>
                <a:gd name="T64" fmla="*/ 141 w 484"/>
                <a:gd name="T65" fmla="*/ 93 h 606"/>
                <a:gd name="T66" fmla="*/ 383 w 484"/>
                <a:gd name="T67" fmla="*/ 27 h 606"/>
                <a:gd name="T68" fmla="*/ 394 w 484"/>
                <a:gd name="T69" fmla="*/ 422 h 606"/>
                <a:gd name="T70" fmla="*/ 414 w 484"/>
                <a:gd name="T71" fmla="*/ 449 h 606"/>
                <a:gd name="T72" fmla="*/ 414 w 484"/>
                <a:gd name="T73" fmla="*/ 39 h 606"/>
                <a:gd name="T74" fmla="*/ 383 w 484"/>
                <a:gd name="T75" fmla="*/ 0 h 606"/>
                <a:gd name="T76" fmla="*/ 121 w 484"/>
                <a:gd name="T77" fmla="*/ 2 h 606"/>
                <a:gd name="T78" fmla="*/ 0 w 484"/>
                <a:gd name="T79" fmla="*/ 123 h 606"/>
                <a:gd name="T80" fmla="*/ 0 w 484"/>
                <a:gd name="T81" fmla="*/ 492 h 606"/>
                <a:gd name="T82" fmla="*/ 32 w 484"/>
                <a:gd name="T83" fmla="*/ 530 h 606"/>
                <a:gd name="T84" fmla="*/ 319 w 484"/>
                <a:gd name="T85" fmla="*/ 524 h 606"/>
                <a:gd name="T86" fmla="*/ 305 w 484"/>
                <a:gd name="T87" fmla="*/ 503 h 606"/>
                <a:gd name="T88" fmla="*/ 20 w 484"/>
                <a:gd name="T89" fmla="*/ 492 h 606"/>
                <a:gd name="T90" fmla="*/ 20 w 484"/>
                <a:gd name="T91" fmla="*/ 150 h 606"/>
                <a:gd name="T92" fmla="*/ 156 w 484"/>
                <a:gd name="T93" fmla="*/ 321 h 606"/>
                <a:gd name="T94" fmla="*/ 156 w 484"/>
                <a:gd name="T95" fmla="*/ 301 h 606"/>
                <a:gd name="T96" fmla="*/ 82 w 484"/>
                <a:gd name="T97" fmla="*/ 294 h 606"/>
                <a:gd name="T98" fmla="*/ 82 w 484"/>
                <a:gd name="T99" fmla="*/ 315 h 606"/>
                <a:gd name="T100" fmla="*/ 82 w 484"/>
                <a:gd name="T101" fmla="*/ 272 h 606"/>
                <a:gd name="T102" fmla="*/ 331 w 484"/>
                <a:gd name="T103" fmla="*/ 279 h 606"/>
                <a:gd name="T104" fmla="*/ 331 w 484"/>
                <a:gd name="T105" fmla="*/ 258 h 606"/>
                <a:gd name="T106" fmla="*/ 82 w 484"/>
                <a:gd name="T107" fmla="*/ 252 h 606"/>
                <a:gd name="T108" fmla="*/ 82 w 484"/>
                <a:gd name="T109" fmla="*/ 272 h 606"/>
                <a:gd name="T110" fmla="*/ 82 w 484"/>
                <a:gd name="T111" fmla="*/ 236 h 606"/>
                <a:gd name="T112" fmla="*/ 331 w 484"/>
                <a:gd name="T113" fmla="*/ 229 h 606"/>
                <a:gd name="T114" fmla="*/ 331 w 484"/>
                <a:gd name="T115" fmla="*/ 209 h 606"/>
                <a:gd name="T116" fmla="*/ 82 w 484"/>
                <a:gd name="T117" fmla="*/ 21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7"/>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6"/>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lnTo>
                    <a:pt x="89" y="152"/>
                  </a:lnTo>
                  <a:lnTo>
                    <a:pt x="89" y="152"/>
                  </a:lnTo>
                  <a:cubicBezTo>
                    <a:pt x="118" y="152"/>
                    <a:pt x="141" y="129"/>
                    <a:pt x="141" y="100"/>
                  </a:cubicBezTo>
                  <a:lnTo>
                    <a:pt x="141" y="94"/>
                  </a:lnTo>
                  <a:lnTo>
                    <a:pt x="141" y="93"/>
                  </a:lnTo>
                  <a:lnTo>
                    <a:pt x="141" y="27"/>
                  </a:lnTo>
                  <a:lnTo>
                    <a:pt x="383" y="27"/>
                  </a:lnTo>
                  <a:cubicBezTo>
                    <a:pt x="389" y="27"/>
                    <a:pt x="394" y="32"/>
                    <a:pt x="394" y="38"/>
                  </a:cubicBezTo>
                  <a:lnTo>
                    <a:pt x="394" y="422"/>
                  </a:lnTo>
                  <a:lnTo>
                    <a:pt x="394" y="429"/>
                  </a:lnTo>
                  <a:lnTo>
                    <a:pt x="414" y="449"/>
                  </a:lnTo>
                  <a:lnTo>
                    <a:pt x="414" y="443"/>
                  </a:lnTo>
                  <a:lnTo>
                    <a:pt x="414" y="39"/>
                  </a:lnTo>
                  <a:lnTo>
                    <a:pt x="414" y="32"/>
                  </a:lnTo>
                  <a:cubicBezTo>
                    <a:pt x="414" y="14"/>
                    <a:pt x="400" y="0"/>
                    <a:pt x="383" y="0"/>
                  </a:cubicBezTo>
                  <a:lnTo>
                    <a:pt x="123" y="0"/>
                  </a:lnTo>
                  <a:lnTo>
                    <a:pt x="121" y="2"/>
                  </a:lnTo>
                  <a:lnTo>
                    <a:pt x="1" y="122"/>
                  </a:lnTo>
                  <a:lnTo>
                    <a:pt x="0" y="123"/>
                  </a:lnTo>
                  <a:lnTo>
                    <a:pt x="0" y="130"/>
                  </a:lnTo>
                  <a:lnTo>
                    <a:pt x="0" y="492"/>
                  </a:lnTo>
                  <a:lnTo>
                    <a:pt x="0" y="499"/>
                  </a:lnTo>
                  <a:cubicBezTo>
                    <a:pt x="0" y="516"/>
                    <a:pt x="14" y="530"/>
                    <a:pt x="32" y="530"/>
                  </a:cubicBezTo>
                  <a:lnTo>
                    <a:pt x="326" y="530"/>
                  </a:lnTo>
                  <a:lnTo>
                    <a:pt x="319" y="524"/>
                  </a:lnTo>
                  <a:lnTo>
                    <a:pt x="326" y="524"/>
                  </a:lnTo>
                  <a:lnTo>
                    <a:pt x="305" y="503"/>
                  </a:lnTo>
                  <a:lnTo>
                    <a:pt x="32" y="503"/>
                  </a:lnTo>
                  <a:cubicBezTo>
                    <a:pt x="25" y="503"/>
                    <a:pt x="21" y="498"/>
                    <a:pt x="20" y="492"/>
                  </a:cubicBezTo>
                  <a:lnTo>
                    <a:pt x="20" y="492"/>
                  </a:lnTo>
                  <a:lnTo>
                    <a:pt x="20" y="150"/>
                  </a:lnTo>
                  <a:close/>
                  <a:moveTo>
                    <a:pt x="82" y="321"/>
                  </a:moveTo>
                  <a:lnTo>
                    <a:pt x="156" y="321"/>
                  </a:lnTo>
                  <a:lnTo>
                    <a:pt x="156" y="315"/>
                  </a:lnTo>
                  <a:lnTo>
                    <a:pt x="156" y="301"/>
                  </a:lnTo>
                  <a:lnTo>
                    <a:pt x="156" y="294"/>
                  </a:lnTo>
                  <a:lnTo>
                    <a:pt x="82" y="294"/>
                  </a:lnTo>
                  <a:lnTo>
                    <a:pt x="82" y="301"/>
                  </a:lnTo>
                  <a:lnTo>
                    <a:pt x="82" y="315"/>
                  </a:lnTo>
                  <a:lnTo>
                    <a:pt x="82" y="321"/>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27" name="文本框 26"/>
            <p:cNvSpPr txBox="1"/>
            <p:nvPr/>
          </p:nvSpPr>
          <p:spPr>
            <a:xfrm>
              <a:off x="6576807" y="2933400"/>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p>
          </p:txBody>
        </p:sp>
      </p:grpSp>
      <p:grpSp>
        <p:nvGrpSpPr>
          <p:cNvPr id="28" name="组合 27"/>
          <p:cNvGrpSpPr/>
          <p:nvPr/>
        </p:nvGrpSpPr>
        <p:grpSpPr>
          <a:xfrm>
            <a:off x="3073525" y="3276996"/>
            <a:ext cx="1203920" cy="1203921"/>
            <a:chOff x="4155409" y="4458779"/>
            <a:chExt cx="1638090" cy="1638091"/>
          </a:xfrm>
        </p:grpSpPr>
        <p:sp>
          <p:nvSpPr>
            <p:cNvPr id="29" name="矩形 28"/>
            <p:cNvSpPr>
              <a:spLocks noChangeAspect="1"/>
            </p:cNvSpPr>
            <p:nvPr/>
          </p:nvSpPr>
          <p:spPr>
            <a:xfrm rot="2700000">
              <a:off x="4155408" y="445878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30" name="Freeform 26"/>
            <p:cNvSpPr>
              <a:spLocks noEditPoints="1"/>
            </p:cNvSpPr>
            <p:nvPr/>
          </p:nvSpPr>
          <p:spPr bwMode="auto">
            <a:xfrm>
              <a:off x="4766169" y="4559754"/>
              <a:ext cx="407844" cy="428495"/>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31" name="文本框 30"/>
            <p:cNvSpPr txBox="1"/>
            <p:nvPr/>
          </p:nvSpPr>
          <p:spPr>
            <a:xfrm>
              <a:off x="4271267" y="5272649"/>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p>
          </p:txBody>
        </p:sp>
      </p:grpSp>
      <p:grpSp>
        <p:nvGrpSpPr>
          <p:cNvPr id="32" name="组合 31"/>
          <p:cNvGrpSpPr/>
          <p:nvPr/>
        </p:nvGrpSpPr>
        <p:grpSpPr>
          <a:xfrm>
            <a:off x="4776124" y="3276998"/>
            <a:ext cx="1203920" cy="1203921"/>
            <a:chOff x="6472017" y="4458781"/>
            <a:chExt cx="1638090" cy="1638091"/>
          </a:xfrm>
        </p:grpSpPr>
        <p:sp>
          <p:nvSpPr>
            <p:cNvPr id="33" name="矩形 32"/>
            <p:cNvSpPr>
              <a:spLocks noChangeAspect="1"/>
            </p:cNvSpPr>
            <p:nvPr/>
          </p:nvSpPr>
          <p:spPr>
            <a:xfrm rot="2700000">
              <a:off x="6472016" y="4458782"/>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34" name="Freeform 16"/>
            <p:cNvSpPr>
              <a:spLocks noEditPoints="1"/>
            </p:cNvSpPr>
            <p:nvPr/>
          </p:nvSpPr>
          <p:spPr bwMode="auto">
            <a:xfrm>
              <a:off x="7009048" y="4598421"/>
              <a:ext cx="551290" cy="439636"/>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35" name="文本框 34"/>
            <p:cNvSpPr txBox="1"/>
            <p:nvPr/>
          </p:nvSpPr>
          <p:spPr>
            <a:xfrm>
              <a:off x="6585868" y="5274885"/>
              <a:ext cx="1481400" cy="495022"/>
            </a:xfrm>
            <a:prstGeom prst="rect">
              <a:avLst/>
            </a:prstGeom>
            <a:noFill/>
          </p:spPr>
          <p:txBody>
            <a:bodyPr wrap="none" rtlCol="0">
              <a:spAutoFit/>
            </a:bodyPr>
            <a:lstStyle/>
            <a:p>
              <a:pPr defTabSz="895350">
                <a:defRPr/>
              </a:pPr>
              <a:r>
                <a:rPr lang="zh-CN" altLang="en-US" sz="1765" kern="0" dirty="0">
                  <a:solidFill>
                    <a:schemeClr val="bg1"/>
                  </a:solidFill>
                  <a:latin typeface="微软雅黑" panose="020B0503020204020204" pitchFamily="34" charset="-122"/>
                  <a:ea typeface="微软雅黑" panose="020B0503020204020204" pitchFamily="34" charset="-122"/>
                </a:rPr>
                <a:t>输入标题</a:t>
              </a:r>
            </a:p>
          </p:txBody>
        </p:sp>
      </p:grpSp>
      <p:sp>
        <p:nvSpPr>
          <p:cNvPr id="3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7" name="矩形 3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059">
        <p15:prstTrans prst="pageCurlDouble"/>
      </p:transition>
    </mc:Choice>
    <mc:Fallback xmlns="">
      <p:transition spd="slow" advClick="0" advTm="405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1+#ppt_w/2"/>
                                          </p:val>
                                        </p:tav>
                                        <p:tav tm="100000">
                                          <p:val>
                                            <p:strVal val="#ppt_x"/>
                                          </p:val>
                                        </p:tav>
                                      </p:tavLst>
                                    </p:anim>
                                    <p:anim calcmode="lin" valueType="num">
                                      <p:cBhvr additive="base">
                                        <p:cTn id="12" dur="500" fill="hold"/>
                                        <p:tgtEl>
                                          <p:spTgt spid="1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p:cTn id="16" dur="500" fill="hold"/>
                                        <p:tgtEl>
                                          <p:spTgt spid="20"/>
                                        </p:tgtEl>
                                        <p:attrNameLst>
                                          <p:attrName>ppt_w</p:attrName>
                                        </p:attrNameLst>
                                      </p:cBhvr>
                                      <p:tavLst>
                                        <p:tav tm="0">
                                          <p:val>
                                            <p:fltVal val="0"/>
                                          </p:val>
                                        </p:tav>
                                        <p:tav tm="100000">
                                          <p:val>
                                            <p:strVal val="#ppt_w"/>
                                          </p:val>
                                        </p:tav>
                                      </p:tavLst>
                                    </p:anim>
                                    <p:anim calcmode="lin" valueType="num">
                                      <p:cBhvr>
                                        <p:cTn id="17" dur="500" fill="hold"/>
                                        <p:tgtEl>
                                          <p:spTgt spid="20"/>
                                        </p:tgtEl>
                                        <p:attrNameLst>
                                          <p:attrName>ppt_h</p:attrName>
                                        </p:attrNameLst>
                                      </p:cBhvr>
                                      <p:tavLst>
                                        <p:tav tm="0">
                                          <p:val>
                                            <p:fltVal val="0"/>
                                          </p:val>
                                        </p:tav>
                                        <p:tav tm="100000">
                                          <p:val>
                                            <p:strVal val="#ppt_h"/>
                                          </p:val>
                                        </p:tav>
                                      </p:tavLst>
                                    </p:anim>
                                    <p:animEffect transition="in" filter="fade">
                                      <p:cBhvr>
                                        <p:cTn id="18" dur="500"/>
                                        <p:tgtEl>
                                          <p:spTgt spid="20"/>
                                        </p:tgtEl>
                                      </p:cBhvr>
                                    </p:animEffect>
                                  </p:childTnLst>
                                </p:cTn>
                              </p:par>
                              <p:par>
                                <p:cTn id="19" presetID="53" presetClass="entr" presetSubtype="16"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p:cTn id="21" dur="500" fill="hold"/>
                                        <p:tgtEl>
                                          <p:spTgt spid="24"/>
                                        </p:tgtEl>
                                        <p:attrNameLst>
                                          <p:attrName>ppt_w</p:attrName>
                                        </p:attrNameLst>
                                      </p:cBhvr>
                                      <p:tavLst>
                                        <p:tav tm="0">
                                          <p:val>
                                            <p:fltVal val="0"/>
                                          </p:val>
                                        </p:tav>
                                        <p:tav tm="100000">
                                          <p:val>
                                            <p:strVal val="#ppt_w"/>
                                          </p:val>
                                        </p:tav>
                                      </p:tavLst>
                                    </p:anim>
                                    <p:anim calcmode="lin" valueType="num">
                                      <p:cBhvr>
                                        <p:cTn id="22" dur="500" fill="hold"/>
                                        <p:tgtEl>
                                          <p:spTgt spid="24"/>
                                        </p:tgtEl>
                                        <p:attrNameLst>
                                          <p:attrName>ppt_h</p:attrName>
                                        </p:attrNameLst>
                                      </p:cBhvr>
                                      <p:tavLst>
                                        <p:tav tm="0">
                                          <p:val>
                                            <p:fltVal val="0"/>
                                          </p:val>
                                        </p:tav>
                                        <p:tav tm="100000">
                                          <p:val>
                                            <p:strVal val="#ppt_h"/>
                                          </p:val>
                                        </p:tav>
                                      </p:tavLst>
                                    </p:anim>
                                    <p:animEffect transition="in" filter="fade">
                                      <p:cBhvr>
                                        <p:cTn id="23" dur="500"/>
                                        <p:tgtEl>
                                          <p:spTgt spid="24"/>
                                        </p:tgtEl>
                                      </p:cBhvr>
                                    </p:animEffect>
                                  </p:childTnLst>
                                </p:cTn>
                              </p:par>
                              <p:par>
                                <p:cTn id="24" presetID="53" presetClass="entr" presetSubtype="16" fill="hold" nodeType="with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p:cTn id="26" dur="500" fill="hold"/>
                                        <p:tgtEl>
                                          <p:spTgt spid="32"/>
                                        </p:tgtEl>
                                        <p:attrNameLst>
                                          <p:attrName>ppt_w</p:attrName>
                                        </p:attrNameLst>
                                      </p:cBhvr>
                                      <p:tavLst>
                                        <p:tav tm="0">
                                          <p:val>
                                            <p:fltVal val="0"/>
                                          </p:val>
                                        </p:tav>
                                        <p:tav tm="100000">
                                          <p:val>
                                            <p:strVal val="#ppt_w"/>
                                          </p:val>
                                        </p:tav>
                                      </p:tavLst>
                                    </p:anim>
                                    <p:anim calcmode="lin" valueType="num">
                                      <p:cBhvr>
                                        <p:cTn id="27" dur="500" fill="hold"/>
                                        <p:tgtEl>
                                          <p:spTgt spid="32"/>
                                        </p:tgtEl>
                                        <p:attrNameLst>
                                          <p:attrName>ppt_h</p:attrName>
                                        </p:attrNameLst>
                                      </p:cBhvr>
                                      <p:tavLst>
                                        <p:tav tm="0">
                                          <p:val>
                                            <p:fltVal val="0"/>
                                          </p:val>
                                        </p:tav>
                                        <p:tav tm="100000">
                                          <p:val>
                                            <p:strVal val="#ppt_h"/>
                                          </p:val>
                                        </p:tav>
                                      </p:tavLst>
                                    </p:anim>
                                    <p:animEffect transition="in" filter="fade">
                                      <p:cBhvr>
                                        <p:cTn id="28" dur="500"/>
                                        <p:tgtEl>
                                          <p:spTgt spid="32"/>
                                        </p:tgtEl>
                                      </p:cBhvr>
                                    </p:animEffect>
                                  </p:childTnLst>
                                </p:cTn>
                              </p:par>
                              <p:par>
                                <p:cTn id="29" presetID="53" presetClass="entr" presetSubtype="16"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p:cTn id="31" dur="500" fill="hold"/>
                                        <p:tgtEl>
                                          <p:spTgt spid="28"/>
                                        </p:tgtEl>
                                        <p:attrNameLst>
                                          <p:attrName>ppt_w</p:attrName>
                                        </p:attrNameLst>
                                      </p:cBhvr>
                                      <p:tavLst>
                                        <p:tav tm="0">
                                          <p:val>
                                            <p:fltVal val="0"/>
                                          </p:val>
                                        </p:tav>
                                        <p:tav tm="100000">
                                          <p:val>
                                            <p:strVal val="#ppt_w"/>
                                          </p:val>
                                        </p:tav>
                                      </p:tavLst>
                                    </p:anim>
                                    <p:anim calcmode="lin" valueType="num">
                                      <p:cBhvr>
                                        <p:cTn id="32" dur="500" fill="hold"/>
                                        <p:tgtEl>
                                          <p:spTgt spid="28"/>
                                        </p:tgtEl>
                                        <p:attrNameLst>
                                          <p:attrName>ppt_h</p:attrName>
                                        </p:attrNameLst>
                                      </p:cBhvr>
                                      <p:tavLst>
                                        <p:tav tm="0">
                                          <p:val>
                                            <p:fltVal val="0"/>
                                          </p:val>
                                        </p:tav>
                                        <p:tav tm="100000">
                                          <p:val>
                                            <p:strVal val="#ppt_h"/>
                                          </p:val>
                                        </p:tav>
                                      </p:tavLst>
                                    </p:anim>
                                    <p:animEffect transition="in" filter="fade">
                                      <p:cBhvr>
                                        <p:cTn id="3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淘宝网chenying0907出品 53"/>
          <p:cNvSpPr/>
          <p:nvPr/>
        </p:nvSpPr>
        <p:spPr>
          <a:xfrm>
            <a:off x="4588302" y="1284767"/>
            <a:ext cx="2877670" cy="2884395"/>
          </a:xfrm>
          <a:prstGeom prst="ellipse">
            <a:avLst/>
          </a:prstGeom>
          <a:noFill/>
          <a:ln w="127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淘宝网chenying0907出品 7"/>
          <p:cNvSpPr/>
          <p:nvPr/>
        </p:nvSpPr>
        <p:spPr bwMode="auto">
          <a:xfrm>
            <a:off x="3566593" y="1419622"/>
            <a:ext cx="979488" cy="1069975"/>
          </a:xfrm>
          <a:custGeom>
            <a:avLst/>
            <a:gdLst>
              <a:gd name="T0" fmla="*/ 617 w 617"/>
              <a:gd name="T1" fmla="*/ 674 h 674"/>
              <a:gd name="T2" fmla="*/ 617 w 617"/>
              <a:gd name="T3" fmla="*/ 0 h 674"/>
              <a:gd name="T4" fmla="*/ 312 w 617"/>
              <a:gd name="T5" fmla="*/ 234 h 674"/>
              <a:gd name="T6" fmla="*/ 0 w 617"/>
              <a:gd name="T7" fmla="*/ 461 h 674"/>
              <a:gd name="T8" fmla="*/ 617 w 617"/>
              <a:gd name="T9" fmla="*/ 674 h 674"/>
            </a:gdLst>
            <a:ahLst/>
            <a:cxnLst>
              <a:cxn ang="0">
                <a:pos x="T0" y="T1"/>
              </a:cxn>
              <a:cxn ang="0">
                <a:pos x="T2" y="T3"/>
              </a:cxn>
              <a:cxn ang="0">
                <a:pos x="T4" y="T5"/>
              </a:cxn>
              <a:cxn ang="0">
                <a:pos x="T6" y="T7"/>
              </a:cxn>
              <a:cxn ang="0">
                <a:pos x="T8" y="T9"/>
              </a:cxn>
            </a:cxnLst>
            <a:rect l="0" t="0" r="r" b="b"/>
            <a:pathLst>
              <a:path w="617" h="674">
                <a:moveTo>
                  <a:pt x="617" y="674"/>
                </a:moveTo>
                <a:lnTo>
                  <a:pt x="617" y="0"/>
                </a:lnTo>
                <a:lnTo>
                  <a:pt x="312" y="234"/>
                </a:lnTo>
                <a:lnTo>
                  <a:pt x="0" y="461"/>
                </a:lnTo>
                <a:lnTo>
                  <a:pt x="617" y="674"/>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0" name="淘宝网chenying0907出品 8"/>
          <p:cNvSpPr/>
          <p:nvPr/>
        </p:nvSpPr>
        <p:spPr bwMode="auto">
          <a:xfrm>
            <a:off x="4546080" y="1419622"/>
            <a:ext cx="990600" cy="1069975"/>
          </a:xfrm>
          <a:custGeom>
            <a:avLst/>
            <a:gdLst>
              <a:gd name="T0" fmla="*/ 0 w 624"/>
              <a:gd name="T1" fmla="*/ 0 h 674"/>
              <a:gd name="T2" fmla="*/ 0 w 624"/>
              <a:gd name="T3" fmla="*/ 674 h 674"/>
              <a:gd name="T4" fmla="*/ 624 w 624"/>
              <a:gd name="T5" fmla="*/ 461 h 674"/>
              <a:gd name="T6" fmla="*/ 312 w 624"/>
              <a:gd name="T7" fmla="*/ 234 h 674"/>
              <a:gd name="T8" fmla="*/ 0 w 624"/>
              <a:gd name="T9" fmla="*/ 0 h 674"/>
            </a:gdLst>
            <a:ahLst/>
            <a:cxnLst>
              <a:cxn ang="0">
                <a:pos x="T0" y="T1"/>
              </a:cxn>
              <a:cxn ang="0">
                <a:pos x="T2" y="T3"/>
              </a:cxn>
              <a:cxn ang="0">
                <a:pos x="T4" y="T5"/>
              </a:cxn>
              <a:cxn ang="0">
                <a:pos x="T6" y="T7"/>
              </a:cxn>
              <a:cxn ang="0">
                <a:pos x="T8" y="T9"/>
              </a:cxn>
            </a:cxnLst>
            <a:rect l="0" t="0" r="r" b="b"/>
            <a:pathLst>
              <a:path w="624" h="674">
                <a:moveTo>
                  <a:pt x="0" y="0"/>
                </a:moveTo>
                <a:lnTo>
                  <a:pt x="0" y="674"/>
                </a:lnTo>
                <a:lnTo>
                  <a:pt x="624" y="461"/>
                </a:lnTo>
                <a:lnTo>
                  <a:pt x="312" y="234"/>
                </a:lnTo>
                <a:lnTo>
                  <a:pt x="0" y="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1" name="淘宝网chenying0907出品 9"/>
          <p:cNvSpPr/>
          <p:nvPr/>
        </p:nvSpPr>
        <p:spPr bwMode="auto">
          <a:xfrm>
            <a:off x="4546080" y="2151459"/>
            <a:ext cx="990600" cy="1204913"/>
          </a:xfrm>
          <a:custGeom>
            <a:avLst/>
            <a:gdLst>
              <a:gd name="T0" fmla="*/ 624 w 624"/>
              <a:gd name="T1" fmla="*/ 0 h 759"/>
              <a:gd name="T2" fmla="*/ 0 w 624"/>
              <a:gd name="T3" fmla="*/ 213 h 759"/>
              <a:gd name="T4" fmla="*/ 390 w 624"/>
              <a:gd name="T5" fmla="*/ 759 h 759"/>
              <a:gd name="T6" fmla="*/ 503 w 624"/>
              <a:gd name="T7" fmla="*/ 383 h 759"/>
              <a:gd name="T8" fmla="*/ 624 w 624"/>
              <a:gd name="T9" fmla="*/ 0 h 759"/>
            </a:gdLst>
            <a:ahLst/>
            <a:cxnLst>
              <a:cxn ang="0">
                <a:pos x="T0" y="T1"/>
              </a:cxn>
              <a:cxn ang="0">
                <a:pos x="T2" y="T3"/>
              </a:cxn>
              <a:cxn ang="0">
                <a:pos x="T4" y="T5"/>
              </a:cxn>
              <a:cxn ang="0">
                <a:pos x="T6" y="T7"/>
              </a:cxn>
              <a:cxn ang="0">
                <a:pos x="T8" y="T9"/>
              </a:cxn>
            </a:cxnLst>
            <a:rect l="0" t="0" r="r" b="b"/>
            <a:pathLst>
              <a:path w="624" h="759">
                <a:moveTo>
                  <a:pt x="624" y="0"/>
                </a:moveTo>
                <a:lnTo>
                  <a:pt x="0" y="213"/>
                </a:lnTo>
                <a:lnTo>
                  <a:pt x="390" y="759"/>
                </a:lnTo>
                <a:lnTo>
                  <a:pt x="503" y="383"/>
                </a:lnTo>
                <a:lnTo>
                  <a:pt x="624" y="0"/>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2" name="淘宝网chenying0907出品 10"/>
          <p:cNvSpPr/>
          <p:nvPr/>
        </p:nvSpPr>
        <p:spPr bwMode="auto">
          <a:xfrm>
            <a:off x="3938068" y="2489597"/>
            <a:ext cx="1227138" cy="866775"/>
          </a:xfrm>
          <a:custGeom>
            <a:avLst/>
            <a:gdLst>
              <a:gd name="T0" fmla="*/ 773 w 773"/>
              <a:gd name="T1" fmla="*/ 546 h 546"/>
              <a:gd name="T2" fmla="*/ 383 w 773"/>
              <a:gd name="T3" fmla="*/ 0 h 546"/>
              <a:gd name="T4" fmla="*/ 0 w 773"/>
              <a:gd name="T5" fmla="*/ 546 h 546"/>
              <a:gd name="T6" fmla="*/ 383 w 773"/>
              <a:gd name="T7" fmla="*/ 546 h 546"/>
              <a:gd name="T8" fmla="*/ 773 w 773"/>
              <a:gd name="T9" fmla="*/ 546 h 546"/>
            </a:gdLst>
            <a:ahLst/>
            <a:cxnLst>
              <a:cxn ang="0">
                <a:pos x="T0" y="T1"/>
              </a:cxn>
              <a:cxn ang="0">
                <a:pos x="T2" y="T3"/>
              </a:cxn>
              <a:cxn ang="0">
                <a:pos x="T4" y="T5"/>
              </a:cxn>
              <a:cxn ang="0">
                <a:pos x="T6" y="T7"/>
              </a:cxn>
              <a:cxn ang="0">
                <a:pos x="T8" y="T9"/>
              </a:cxn>
            </a:cxnLst>
            <a:rect l="0" t="0" r="r" b="b"/>
            <a:pathLst>
              <a:path w="773" h="546">
                <a:moveTo>
                  <a:pt x="773" y="546"/>
                </a:moveTo>
                <a:lnTo>
                  <a:pt x="383" y="0"/>
                </a:lnTo>
                <a:lnTo>
                  <a:pt x="0" y="546"/>
                </a:lnTo>
                <a:lnTo>
                  <a:pt x="383" y="546"/>
                </a:lnTo>
                <a:lnTo>
                  <a:pt x="773" y="546"/>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3" name="淘宝网chenying0907出品 11"/>
          <p:cNvSpPr/>
          <p:nvPr/>
        </p:nvSpPr>
        <p:spPr bwMode="auto">
          <a:xfrm>
            <a:off x="3566593" y="2151459"/>
            <a:ext cx="979488" cy="1204913"/>
          </a:xfrm>
          <a:custGeom>
            <a:avLst/>
            <a:gdLst>
              <a:gd name="T0" fmla="*/ 234 w 617"/>
              <a:gd name="T1" fmla="*/ 759 h 759"/>
              <a:gd name="T2" fmla="*/ 617 w 617"/>
              <a:gd name="T3" fmla="*/ 213 h 759"/>
              <a:gd name="T4" fmla="*/ 0 w 617"/>
              <a:gd name="T5" fmla="*/ 0 h 759"/>
              <a:gd name="T6" fmla="*/ 120 w 617"/>
              <a:gd name="T7" fmla="*/ 383 h 759"/>
              <a:gd name="T8" fmla="*/ 234 w 617"/>
              <a:gd name="T9" fmla="*/ 759 h 759"/>
            </a:gdLst>
            <a:ahLst/>
            <a:cxnLst>
              <a:cxn ang="0">
                <a:pos x="T0" y="T1"/>
              </a:cxn>
              <a:cxn ang="0">
                <a:pos x="T2" y="T3"/>
              </a:cxn>
              <a:cxn ang="0">
                <a:pos x="T4" y="T5"/>
              </a:cxn>
              <a:cxn ang="0">
                <a:pos x="T6" y="T7"/>
              </a:cxn>
              <a:cxn ang="0">
                <a:pos x="T8" y="T9"/>
              </a:cxn>
            </a:cxnLst>
            <a:rect l="0" t="0" r="r" b="b"/>
            <a:pathLst>
              <a:path w="617" h="759">
                <a:moveTo>
                  <a:pt x="234" y="759"/>
                </a:moveTo>
                <a:lnTo>
                  <a:pt x="617" y="213"/>
                </a:lnTo>
                <a:lnTo>
                  <a:pt x="0" y="0"/>
                </a:lnTo>
                <a:lnTo>
                  <a:pt x="120" y="383"/>
                </a:lnTo>
                <a:lnTo>
                  <a:pt x="234" y="759"/>
                </a:lnTo>
                <a:close/>
              </a:path>
            </a:pathLst>
          </a:custGeom>
          <a:solidFill>
            <a:srgbClr val="206DC1"/>
          </a:solidFill>
          <a:ln>
            <a:noFill/>
          </a:ln>
        </p:spPr>
        <p:txBody>
          <a:bodyPr vert="horz" wrap="square" lIns="91440" tIns="45720" rIns="91440" bIns="45720" numCol="1" anchor="t" anchorCtr="0" compatLnSpc="1"/>
          <a:lstStyle/>
          <a:p>
            <a:endParaRPr lang="zh-CN" altLang="en-US"/>
          </a:p>
        </p:txBody>
      </p:sp>
      <p:sp>
        <p:nvSpPr>
          <p:cNvPr id="24" name="淘宝网chenying0907出品 62"/>
          <p:cNvSpPr/>
          <p:nvPr/>
        </p:nvSpPr>
        <p:spPr>
          <a:xfrm>
            <a:off x="4033266" y="1970847"/>
            <a:ext cx="413377" cy="305405"/>
          </a:xfrm>
          <a:prstGeom prst="rect">
            <a:avLst/>
          </a:prstGeom>
        </p:spPr>
        <p:txBody>
          <a:bodyPr wrap="square">
            <a:spAutoFit/>
          </a:bodyPr>
          <a:lstStyle/>
          <a:p>
            <a:pPr algn="just">
              <a:lnSpc>
                <a:spcPts val="1200"/>
              </a:lnSpc>
            </a:pPr>
            <a:r>
              <a:rPr lang="en-US" altLang="zh-CN" sz="3200" dirty="0">
                <a:solidFill>
                  <a:schemeClr val="bg1"/>
                </a:solidFill>
                <a:latin typeface="微软雅黑" panose="020B0503020204020204" pitchFamily="34" charset="-122"/>
                <a:ea typeface="微软雅黑" panose="020B0503020204020204" pitchFamily="34" charset="-122"/>
              </a:rPr>
              <a:t>1</a:t>
            </a:r>
          </a:p>
        </p:txBody>
      </p:sp>
      <p:sp>
        <p:nvSpPr>
          <p:cNvPr id="25" name="淘宝网chenying0907出品 63"/>
          <p:cNvSpPr/>
          <p:nvPr/>
        </p:nvSpPr>
        <p:spPr>
          <a:xfrm>
            <a:off x="4637389" y="197084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2</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6" name="淘宝网chenying0907出品 64"/>
          <p:cNvSpPr/>
          <p:nvPr/>
        </p:nvSpPr>
        <p:spPr>
          <a:xfrm>
            <a:off x="4835271" y="269092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3</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7" name="淘宝网chenying0907出品 67"/>
          <p:cNvSpPr/>
          <p:nvPr/>
        </p:nvSpPr>
        <p:spPr>
          <a:xfrm>
            <a:off x="4312544" y="2996332"/>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4</a:t>
            </a:r>
            <a:endParaRPr lang="en-US" altLang="zh-CN" sz="3200" dirty="0">
              <a:solidFill>
                <a:schemeClr val="bg1"/>
              </a:solidFill>
              <a:latin typeface="微软雅黑" panose="020B0503020204020204" pitchFamily="34" charset="-122"/>
              <a:ea typeface="微软雅黑" panose="020B0503020204020204" pitchFamily="34" charset="-122"/>
            </a:endParaRPr>
          </a:p>
        </p:txBody>
      </p:sp>
      <p:sp>
        <p:nvSpPr>
          <p:cNvPr id="28" name="淘宝网chenying0907出品 68"/>
          <p:cNvSpPr/>
          <p:nvPr/>
        </p:nvSpPr>
        <p:spPr>
          <a:xfrm>
            <a:off x="3826577" y="269092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anose="020B0503020204020204" pitchFamily="34" charset="-122"/>
                <a:ea typeface="微软雅黑" panose="020B0503020204020204" pitchFamily="34" charset="-122"/>
              </a:rPr>
              <a:t>5</a:t>
            </a:r>
            <a:endParaRPr lang="en-US" altLang="zh-CN" sz="3200" dirty="0">
              <a:solidFill>
                <a:schemeClr val="bg1"/>
              </a:solidFill>
              <a:latin typeface="微软雅黑" panose="020B0503020204020204" pitchFamily="34" charset="-122"/>
              <a:ea typeface="微软雅黑" panose="020B0503020204020204" pitchFamily="34" charset="-122"/>
            </a:endParaRPr>
          </a:p>
        </p:txBody>
      </p:sp>
      <p:grpSp>
        <p:nvGrpSpPr>
          <p:cNvPr id="29" name="淘宝网chenying0907出品 69"/>
          <p:cNvGrpSpPr/>
          <p:nvPr/>
        </p:nvGrpSpPr>
        <p:grpSpPr>
          <a:xfrm>
            <a:off x="4952316" y="1484164"/>
            <a:ext cx="1520468" cy="720080"/>
            <a:chOff x="4923740" y="1635646"/>
            <a:chExt cx="1520468" cy="720080"/>
          </a:xfrm>
        </p:grpSpPr>
        <p:cxnSp>
          <p:nvCxnSpPr>
            <p:cNvPr id="30" name="直接连接符 29"/>
            <p:cNvCxnSpPr>
              <a:stCxn id="32" idx="6"/>
            </p:cNvCxnSpPr>
            <p:nvPr/>
          </p:nvCxnSpPr>
          <p:spPr>
            <a:xfrm>
              <a:off x="5022190" y="2000245"/>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444208" y="1635646"/>
              <a:ext cx="0" cy="720080"/>
            </a:xfrm>
            <a:prstGeom prst="line">
              <a:avLst/>
            </a:prstGeom>
            <a:solidFill>
              <a:srgbClr val="FFC535"/>
            </a:solidFill>
            <a:ln w="9525">
              <a:solidFill>
                <a:srgbClr val="2C53B6"/>
              </a:solidFill>
              <a:miter lim="800000"/>
            </a:ln>
          </p:spPr>
        </p:cxnSp>
        <p:sp>
          <p:nvSpPr>
            <p:cNvPr id="32" name="淘宝网chenying0907出品 72"/>
            <p:cNvSpPr/>
            <p:nvPr/>
          </p:nvSpPr>
          <p:spPr>
            <a:xfrm>
              <a:off x="4923740" y="1950720"/>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淘宝网chenying0907出品 73"/>
          <p:cNvGrpSpPr/>
          <p:nvPr/>
        </p:nvGrpSpPr>
        <p:grpSpPr>
          <a:xfrm>
            <a:off x="5222768" y="2353553"/>
            <a:ext cx="1520468" cy="720080"/>
            <a:chOff x="4923740" y="1635646"/>
            <a:chExt cx="1520468" cy="720080"/>
          </a:xfrm>
        </p:grpSpPr>
        <p:cxnSp>
          <p:nvCxnSpPr>
            <p:cNvPr id="34" name="直接连接符 33"/>
            <p:cNvCxnSpPr>
              <a:stCxn id="36" idx="6"/>
            </p:cNvCxnSpPr>
            <p:nvPr/>
          </p:nvCxnSpPr>
          <p:spPr>
            <a:xfrm>
              <a:off x="5022190" y="2000245"/>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6444208" y="1635646"/>
              <a:ext cx="0" cy="720080"/>
            </a:xfrm>
            <a:prstGeom prst="line">
              <a:avLst/>
            </a:prstGeom>
            <a:solidFill>
              <a:srgbClr val="FFC535"/>
            </a:solidFill>
            <a:ln w="9525">
              <a:solidFill>
                <a:srgbClr val="2C53B6"/>
              </a:solidFill>
              <a:miter lim="800000"/>
            </a:ln>
          </p:spPr>
        </p:cxnSp>
        <p:sp>
          <p:nvSpPr>
            <p:cNvPr id="36" name="淘宝网chenying0907出品 76"/>
            <p:cNvSpPr/>
            <p:nvPr/>
          </p:nvSpPr>
          <p:spPr>
            <a:xfrm>
              <a:off x="4923740" y="1950720"/>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7" name="淘宝网chenying0907出品 77"/>
          <p:cNvGrpSpPr/>
          <p:nvPr/>
        </p:nvGrpSpPr>
        <p:grpSpPr>
          <a:xfrm>
            <a:off x="2630784" y="1497559"/>
            <a:ext cx="1482820" cy="720080"/>
            <a:chOff x="4993907" y="1635646"/>
            <a:chExt cx="1482820" cy="720080"/>
          </a:xfrm>
        </p:grpSpPr>
        <p:cxnSp>
          <p:nvCxnSpPr>
            <p:cNvPr id="38" name="直接连接符 37"/>
            <p:cNvCxnSpPr/>
            <p:nvPr/>
          </p:nvCxnSpPr>
          <p:spPr>
            <a:xfrm>
              <a:off x="4993907" y="1995686"/>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4994480" y="1635646"/>
              <a:ext cx="0" cy="720080"/>
            </a:xfrm>
            <a:prstGeom prst="line">
              <a:avLst/>
            </a:prstGeom>
            <a:solidFill>
              <a:srgbClr val="FFC535"/>
            </a:solidFill>
            <a:ln w="9525">
              <a:solidFill>
                <a:srgbClr val="2C53B6"/>
              </a:solidFill>
              <a:miter lim="800000"/>
            </a:ln>
          </p:spPr>
        </p:cxnSp>
        <p:sp>
          <p:nvSpPr>
            <p:cNvPr id="40" name="淘宝网chenying0907出品 80"/>
            <p:cNvSpPr/>
            <p:nvPr/>
          </p:nvSpPr>
          <p:spPr>
            <a:xfrm>
              <a:off x="6378277" y="1946161"/>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淘宝网chenying0907出品 81"/>
          <p:cNvGrpSpPr/>
          <p:nvPr/>
        </p:nvGrpSpPr>
        <p:grpSpPr>
          <a:xfrm>
            <a:off x="2397676" y="2360140"/>
            <a:ext cx="1482820" cy="720080"/>
            <a:chOff x="4993907" y="1635646"/>
            <a:chExt cx="1482820" cy="720080"/>
          </a:xfrm>
        </p:grpSpPr>
        <p:cxnSp>
          <p:nvCxnSpPr>
            <p:cNvPr id="44" name="直接连接符 43"/>
            <p:cNvCxnSpPr/>
            <p:nvPr/>
          </p:nvCxnSpPr>
          <p:spPr>
            <a:xfrm>
              <a:off x="4993907" y="1995686"/>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4994480" y="1635646"/>
              <a:ext cx="0" cy="720080"/>
            </a:xfrm>
            <a:prstGeom prst="line">
              <a:avLst/>
            </a:prstGeom>
            <a:solidFill>
              <a:srgbClr val="FFC535"/>
            </a:solidFill>
            <a:ln w="9525">
              <a:solidFill>
                <a:srgbClr val="2C53B6"/>
              </a:solidFill>
              <a:miter lim="800000"/>
            </a:ln>
          </p:spPr>
        </p:cxnSp>
        <p:sp>
          <p:nvSpPr>
            <p:cNvPr id="46" name="淘宝网chenying0907出品 84"/>
            <p:cNvSpPr/>
            <p:nvPr/>
          </p:nvSpPr>
          <p:spPr>
            <a:xfrm>
              <a:off x="6378277" y="1946161"/>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淘宝网chenying0907出品 85"/>
          <p:cNvGrpSpPr/>
          <p:nvPr/>
        </p:nvGrpSpPr>
        <p:grpSpPr>
          <a:xfrm>
            <a:off x="4113604" y="3212356"/>
            <a:ext cx="838713" cy="459090"/>
            <a:chOff x="4085028" y="3408804"/>
            <a:chExt cx="838713" cy="459090"/>
          </a:xfrm>
        </p:grpSpPr>
        <p:sp>
          <p:nvSpPr>
            <p:cNvPr id="48" name="淘宝网chenying0907出品 86"/>
            <p:cNvSpPr/>
            <p:nvPr/>
          </p:nvSpPr>
          <p:spPr>
            <a:xfrm>
              <a:off x="4468279" y="3408804"/>
              <a:ext cx="98450" cy="99050"/>
            </a:xfrm>
            <a:prstGeom prst="ellipse">
              <a:avLst/>
            </a:prstGeom>
            <a:solidFill>
              <a:schemeClr val="bg1">
                <a:lumMod val="6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9" name="直接连接符 48"/>
            <p:cNvCxnSpPr>
              <a:stCxn id="48" idx="4"/>
            </p:cNvCxnSpPr>
            <p:nvPr/>
          </p:nvCxnSpPr>
          <p:spPr>
            <a:xfrm>
              <a:off x="4517504" y="3507854"/>
              <a:ext cx="5557" cy="36004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4085028" y="3867894"/>
              <a:ext cx="838713" cy="0"/>
            </a:xfrm>
            <a:prstGeom prst="line">
              <a:avLst/>
            </a:prstGeom>
            <a:solidFill>
              <a:srgbClr val="FFC535"/>
            </a:solidFill>
            <a:ln w="9525">
              <a:solidFill>
                <a:srgbClr val="11817F"/>
              </a:solidFill>
              <a:miter lim="800000"/>
            </a:ln>
          </p:spPr>
        </p:cxnSp>
      </p:grpSp>
      <p:sp>
        <p:nvSpPr>
          <p:cNvPr id="51" name="淘宝网chenying0907出品 89"/>
          <p:cNvSpPr/>
          <p:nvPr/>
        </p:nvSpPr>
        <p:spPr>
          <a:xfrm>
            <a:off x="6544792" y="1529304"/>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p>
        </p:txBody>
      </p:sp>
      <p:sp>
        <p:nvSpPr>
          <p:cNvPr id="52" name="淘宝网chenying0907出品 90"/>
          <p:cNvSpPr/>
          <p:nvPr/>
        </p:nvSpPr>
        <p:spPr>
          <a:xfrm>
            <a:off x="672817" y="1550292"/>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p>
        </p:txBody>
      </p:sp>
      <p:sp>
        <p:nvSpPr>
          <p:cNvPr id="53" name="淘宝网chenying0907出品 91"/>
          <p:cNvSpPr/>
          <p:nvPr/>
        </p:nvSpPr>
        <p:spPr>
          <a:xfrm>
            <a:off x="6804249" y="2391885"/>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p>
        </p:txBody>
      </p:sp>
      <p:sp>
        <p:nvSpPr>
          <p:cNvPr id="54" name="淘宝网chenying0907出品 92"/>
          <p:cNvSpPr/>
          <p:nvPr/>
        </p:nvSpPr>
        <p:spPr>
          <a:xfrm>
            <a:off x="3615533" y="3716412"/>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p>
        </p:txBody>
      </p:sp>
      <p:sp>
        <p:nvSpPr>
          <p:cNvPr id="55" name="淘宝网chenying0907出品 93"/>
          <p:cNvSpPr/>
          <p:nvPr/>
        </p:nvSpPr>
        <p:spPr>
          <a:xfrm>
            <a:off x="456386" y="2366463"/>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anose="020B0503020204020204" pitchFamily="34" charset="-122"/>
                <a:ea typeface="微软雅黑" panose="020B0503020204020204" pitchFamily="34" charset="-122"/>
              </a:rPr>
              <a:t>在对统计信息在可视化时的基本属性进行分析与研究后，图表的定义：图表泛指在屏幕中显示的，可直观展示统计信息。</a:t>
            </a:r>
          </a:p>
        </p:txBody>
      </p: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7649">
        <p15:prstTrans prst="pageCurlDouble"/>
      </p:transition>
    </mc:Choice>
    <mc:Fallback xmlns="">
      <p:transition spd="slow" advClick="0" advTm="7649">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500"/>
                                            <p:tgtEl>
                                              <p:spTgt spid="18"/>
                                            </p:tgtEl>
                                          </p:cBhvr>
                                        </p:animEffect>
                                      </p:childTnLst>
                                    </p:cTn>
                                  </p:par>
                                  <p:par>
                                    <p:cTn id="8" presetID="2" presetClass="entr" presetSubtype="9" fill="hold" grpId="0" nodeType="withEffect" p14:presetBounceEnd="53000">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14:bounceEnd="53000">
                                          <p:cBhvr additive="base">
                                            <p:cTn id="10" dur="300" fill="hold"/>
                                            <p:tgtEl>
                                              <p:spTgt spid="19"/>
                                            </p:tgtEl>
                                            <p:attrNameLst>
                                              <p:attrName>ppt_x</p:attrName>
                                            </p:attrNameLst>
                                          </p:cBhvr>
                                          <p:tavLst>
                                            <p:tav tm="0">
                                              <p:val>
                                                <p:strVal val="0-#ppt_w/2"/>
                                              </p:val>
                                            </p:tav>
                                            <p:tav tm="100000">
                                              <p:val>
                                                <p:strVal val="#ppt_x"/>
                                              </p:val>
                                            </p:tav>
                                          </p:tavLst>
                                        </p:anim>
                                        <p:anim calcmode="lin" valueType="num" p14:bounceEnd="53000">
                                          <p:cBhvr additive="base">
                                            <p:cTn id="11" dur="30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3" fill="hold" grpId="0" nodeType="withEffect" p14:presetBounceEnd="53000">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14:bounceEnd="53000">
                                          <p:cBhvr additive="base">
                                            <p:cTn id="14" dur="300" fill="hold"/>
                                            <p:tgtEl>
                                              <p:spTgt spid="20"/>
                                            </p:tgtEl>
                                            <p:attrNameLst>
                                              <p:attrName>ppt_x</p:attrName>
                                            </p:attrNameLst>
                                          </p:cBhvr>
                                          <p:tavLst>
                                            <p:tav tm="0">
                                              <p:val>
                                                <p:strVal val="1+#ppt_w/2"/>
                                              </p:val>
                                            </p:tav>
                                            <p:tav tm="100000">
                                              <p:val>
                                                <p:strVal val="#ppt_x"/>
                                              </p:val>
                                            </p:tav>
                                          </p:tavLst>
                                        </p:anim>
                                        <p:anim calcmode="lin" valueType="num" p14:bounceEnd="53000">
                                          <p:cBhvr additive="base">
                                            <p:cTn id="15" dur="300" fill="hold"/>
                                            <p:tgtEl>
                                              <p:spTgt spid="20"/>
                                            </p:tgtEl>
                                            <p:attrNameLst>
                                              <p:attrName>ppt_y</p:attrName>
                                            </p:attrNameLst>
                                          </p:cBhvr>
                                          <p:tavLst>
                                            <p:tav tm="0">
                                              <p:val>
                                                <p:strVal val="0-#ppt_h/2"/>
                                              </p:val>
                                            </p:tav>
                                            <p:tav tm="100000">
                                              <p:val>
                                                <p:strVal val="#ppt_y"/>
                                              </p:val>
                                            </p:tav>
                                          </p:tavLst>
                                        </p:anim>
                                      </p:childTnLst>
                                    </p:cTn>
                                  </p:par>
                                  <p:par>
                                    <p:cTn id="16" presetID="2" presetClass="entr" presetSubtype="6" fill="hold" grpId="0" nodeType="withEffect" p14:presetBounceEnd="53000">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14:bounceEnd="53000">
                                          <p:cBhvr additive="base">
                                            <p:cTn id="18" dur="300" fill="hold"/>
                                            <p:tgtEl>
                                              <p:spTgt spid="21"/>
                                            </p:tgtEl>
                                            <p:attrNameLst>
                                              <p:attrName>ppt_x</p:attrName>
                                            </p:attrNameLst>
                                          </p:cBhvr>
                                          <p:tavLst>
                                            <p:tav tm="0">
                                              <p:val>
                                                <p:strVal val="1+#ppt_w/2"/>
                                              </p:val>
                                            </p:tav>
                                            <p:tav tm="100000">
                                              <p:val>
                                                <p:strVal val="#ppt_x"/>
                                              </p:val>
                                            </p:tav>
                                          </p:tavLst>
                                        </p:anim>
                                        <p:anim calcmode="lin" valueType="num" p14:bounceEnd="53000">
                                          <p:cBhvr additive="base">
                                            <p:cTn id="19" dur="300" fill="hold"/>
                                            <p:tgtEl>
                                              <p:spTgt spid="2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14:presetBounceEnd="53000">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14:bounceEnd="53000">
                                          <p:cBhvr additive="base">
                                            <p:cTn id="22" dur="300" fill="hold"/>
                                            <p:tgtEl>
                                              <p:spTgt spid="22"/>
                                            </p:tgtEl>
                                            <p:attrNameLst>
                                              <p:attrName>ppt_x</p:attrName>
                                            </p:attrNameLst>
                                          </p:cBhvr>
                                          <p:tavLst>
                                            <p:tav tm="0">
                                              <p:val>
                                                <p:strVal val="#ppt_x"/>
                                              </p:val>
                                            </p:tav>
                                            <p:tav tm="100000">
                                              <p:val>
                                                <p:strVal val="#ppt_x"/>
                                              </p:val>
                                            </p:tav>
                                          </p:tavLst>
                                        </p:anim>
                                        <p:anim calcmode="lin" valueType="num" p14:bounceEnd="53000">
                                          <p:cBhvr additive="base">
                                            <p:cTn id="23" dur="300" fill="hold"/>
                                            <p:tgtEl>
                                              <p:spTgt spid="22"/>
                                            </p:tgtEl>
                                            <p:attrNameLst>
                                              <p:attrName>ppt_y</p:attrName>
                                            </p:attrNameLst>
                                          </p:cBhvr>
                                          <p:tavLst>
                                            <p:tav tm="0">
                                              <p:val>
                                                <p:strVal val="1+#ppt_h/2"/>
                                              </p:val>
                                            </p:tav>
                                            <p:tav tm="100000">
                                              <p:val>
                                                <p:strVal val="#ppt_y"/>
                                              </p:val>
                                            </p:tav>
                                          </p:tavLst>
                                        </p:anim>
                                      </p:childTnLst>
                                    </p:cTn>
                                  </p:par>
                                  <p:par>
                                    <p:cTn id="24" presetID="2" presetClass="entr" presetSubtype="12" fill="hold" grpId="0" nodeType="withEffect" p14:presetBounceEnd="53000">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14:bounceEnd="53000">
                                          <p:cBhvr additive="base">
                                            <p:cTn id="26" dur="300" fill="hold"/>
                                            <p:tgtEl>
                                              <p:spTgt spid="23"/>
                                            </p:tgtEl>
                                            <p:attrNameLst>
                                              <p:attrName>ppt_x</p:attrName>
                                            </p:attrNameLst>
                                          </p:cBhvr>
                                          <p:tavLst>
                                            <p:tav tm="0">
                                              <p:val>
                                                <p:strVal val="0-#ppt_w/2"/>
                                              </p:val>
                                            </p:tav>
                                            <p:tav tm="100000">
                                              <p:val>
                                                <p:strVal val="#ppt_x"/>
                                              </p:val>
                                            </p:tav>
                                          </p:tavLst>
                                        </p:anim>
                                        <p:anim calcmode="lin" valueType="num" p14:bounceEnd="53000">
                                          <p:cBhvr additive="base">
                                            <p:cTn id="27" dur="300" fill="hold"/>
                                            <p:tgtEl>
                                              <p:spTgt spid="23"/>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 fill="hold"/>
                                            <p:tgtEl>
                                              <p:spTgt spid="24"/>
                                            </p:tgtEl>
                                            <p:attrNameLst>
                                              <p:attrName>ppt_w</p:attrName>
                                            </p:attrNameLst>
                                          </p:cBhvr>
                                          <p:tavLst>
                                            <p:tav tm="0">
                                              <p:val>
                                                <p:fltVal val="0"/>
                                              </p:val>
                                            </p:tav>
                                            <p:tav tm="100000">
                                              <p:val>
                                                <p:strVal val="#ppt_w"/>
                                              </p:val>
                                            </p:tav>
                                          </p:tavLst>
                                        </p:anim>
                                        <p:anim calcmode="lin" valueType="num">
                                          <p:cBhvr>
                                            <p:cTn id="32" dur="300" fill="hold"/>
                                            <p:tgtEl>
                                              <p:spTgt spid="24"/>
                                            </p:tgtEl>
                                            <p:attrNameLst>
                                              <p:attrName>ppt_h</p:attrName>
                                            </p:attrNameLst>
                                          </p:cBhvr>
                                          <p:tavLst>
                                            <p:tav tm="0">
                                              <p:val>
                                                <p:fltVal val="0"/>
                                              </p:val>
                                            </p:tav>
                                            <p:tav tm="100000">
                                              <p:val>
                                                <p:strVal val="#ppt_h"/>
                                              </p:val>
                                            </p:tav>
                                          </p:tavLst>
                                        </p:anim>
                                      </p:childTnLst>
                                    </p:cTn>
                                  </p:par>
                                </p:childTnLst>
                              </p:cTn>
                            </p:par>
                            <p:par>
                              <p:cTn id="33" fill="hold">
                                <p:stCondLst>
                                  <p:cond delay="1000"/>
                                </p:stCondLst>
                                <p:childTnLst>
                                  <p:par>
                                    <p:cTn id="34" presetID="23" presetClass="entr" presetSubtype="16"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300" fill="hold"/>
                                            <p:tgtEl>
                                              <p:spTgt spid="25"/>
                                            </p:tgtEl>
                                            <p:attrNameLst>
                                              <p:attrName>ppt_w</p:attrName>
                                            </p:attrNameLst>
                                          </p:cBhvr>
                                          <p:tavLst>
                                            <p:tav tm="0">
                                              <p:val>
                                                <p:fltVal val="0"/>
                                              </p:val>
                                            </p:tav>
                                            <p:tav tm="100000">
                                              <p:val>
                                                <p:strVal val="#ppt_w"/>
                                              </p:val>
                                            </p:tav>
                                          </p:tavLst>
                                        </p:anim>
                                        <p:anim calcmode="lin" valueType="num">
                                          <p:cBhvr>
                                            <p:cTn id="37" dur="3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500"/>
                                </p:stCondLst>
                                <p:childTnLst>
                                  <p:par>
                                    <p:cTn id="39" presetID="23" presetClass="entr" presetSubtype="16"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00" fill="hold"/>
                                            <p:tgtEl>
                                              <p:spTgt spid="26"/>
                                            </p:tgtEl>
                                            <p:attrNameLst>
                                              <p:attrName>ppt_w</p:attrName>
                                            </p:attrNameLst>
                                          </p:cBhvr>
                                          <p:tavLst>
                                            <p:tav tm="0">
                                              <p:val>
                                                <p:fltVal val="0"/>
                                              </p:val>
                                            </p:tav>
                                            <p:tav tm="100000">
                                              <p:val>
                                                <p:strVal val="#ppt_w"/>
                                              </p:val>
                                            </p:tav>
                                          </p:tavLst>
                                        </p:anim>
                                        <p:anim calcmode="lin" valueType="num">
                                          <p:cBhvr>
                                            <p:cTn id="42" dur="300" fill="hold"/>
                                            <p:tgtEl>
                                              <p:spTgt spid="26"/>
                                            </p:tgtEl>
                                            <p:attrNameLst>
                                              <p:attrName>ppt_h</p:attrName>
                                            </p:attrNameLst>
                                          </p:cBhvr>
                                          <p:tavLst>
                                            <p:tav tm="0">
                                              <p:val>
                                                <p:fltVal val="0"/>
                                              </p:val>
                                            </p:tav>
                                            <p:tav tm="100000">
                                              <p:val>
                                                <p:strVal val="#ppt_h"/>
                                              </p:val>
                                            </p:tav>
                                          </p:tavLst>
                                        </p:anim>
                                      </p:childTnLst>
                                    </p:cTn>
                                  </p:par>
                                </p:childTnLst>
                              </p:cTn>
                            </p:par>
                            <p:par>
                              <p:cTn id="43" fill="hold">
                                <p:stCondLst>
                                  <p:cond delay="2000"/>
                                </p:stCondLst>
                                <p:childTnLst>
                                  <p:par>
                                    <p:cTn id="44" presetID="23" presetClass="entr" presetSubtype="16"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p:cTn id="46" dur="300" fill="hold"/>
                                            <p:tgtEl>
                                              <p:spTgt spid="27"/>
                                            </p:tgtEl>
                                            <p:attrNameLst>
                                              <p:attrName>ppt_w</p:attrName>
                                            </p:attrNameLst>
                                          </p:cBhvr>
                                          <p:tavLst>
                                            <p:tav tm="0">
                                              <p:val>
                                                <p:fltVal val="0"/>
                                              </p:val>
                                            </p:tav>
                                            <p:tav tm="100000">
                                              <p:val>
                                                <p:strVal val="#ppt_w"/>
                                              </p:val>
                                            </p:tav>
                                          </p:tavLst>
                                        </p:anim>
                                        <p:anim calcmode="lin" valueType="num">
                                          <p:cBhvr>
                                            <p:cTn id="47" dur="300" fill="hold"/>
                                            <p:tgtEl>
                                              <p:spTgt spid="27"/>
                                            </p:tgtEl>
                                            <p:attrNameLst>
                                              <p:attrName>ppt_h</p:attrName>
                                            </p:attrNameLst>
                                          </p:cBhvr>
                                          <p:tavLst>
                                            <p:tav tm="0">
                                              <p:val>
                                                <p:fltVal val="0"/>
                                              </p:val>
                                            </p:tav>
                                            <p:tav tm="100000">
                                              <p:val>
                                                <p:strVal val="#ppt_h"/>
                                              </p:val>
                                            </p:tav>
                                          </p:tavLst>
                                        </p:anim>
                                      </p:childTnLst>
                                    </p:cTn>
                                  </p:par>
                                </p:childTnLst>
                              </p:cTn>
                            </p:par>
                            <p:par>
                              <p:cTn id="48" fill="hold">
                                <p:stCondLst>
                                  <p:cond delay="2500"/>
                                </p:stCondLst>
                                <p:childTnLst>
                                  <p:par>
                                    <p:cTn id="49" presetID="23" presetClass="entr" presetSubtype="16"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p:cTn id="51" dur="300" fill="hold"/>
                                            <p:tgtEl>
                                              <p:spTgt spid="28"/>
                                            </p:tgtEl>
                                            <p:attrNameLst>
                                              <p:attrName>ppt_w</p:attrName>
                                            </p:attrNameLst>
                                          </p:cBhvr>
                                          <p:tavLst>
                                            <p:tav tm="0">
                                              <p:val>
                                                <p:fltVal val="0"/>
                                              </p:val>
                                            </p:tav>
                                            <p:tav tm="100000">
                                              <p:val>
                                                <p:strVal val="#ppt_w"/>
                                              </p:val>
                                            </p:tav>
                                          </p:tavLst>
                                        </p:anim>
                                        <p:anim calcmode="lin" valueType="num">
                                          <p:cBhvr>
                                            <p:cTn id="52" dur="300" fill="hold"/>
                                            <p:tgtEl>
                                              <p:spTgt spid="28"/>
                                            </p:tgtEl>
                                            <p:attrNameLst>
                                              <p:attrName>ppt_h</p:attrName>
                                            </p:attrNameLst>
                                          </p:cBhvr>
                                          <p:tavLst>
                                            <p:tav tm="0">
                                              <p:val>
                                                <p:fltVal val="0"/>
                                              </p:val>
                                            </p:tav>
                                            <p:tav tm="100000">
                                              <p:val>
                                                <p:strVal val="#ppt_h"/>
                                              </p:val>
                                            </p:tav>
                                          </p:tavLst>
                                        </p:anim>
                                      </p:childTnLst>
                                    </p:cTn>
                                  </p:par>
                                </p:childTnLst>
                              </p:cTn>
                            </p:par>
                            <p:par>
                              <p:cTn id="53" fill="hold">
                                <p:stCondLst>
                                  <p:cond delay="3000"/>
                                </p:stCondLst>
                                <p:childTnLst>
                                  <p:par>
                                    <p:cTn id="54" presetID="22" presetClass="entr" presetSubtype="2" fill="hold"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right)">
                                          <p:cBhvr>
                                            <p:cTn id="56" dur="500"/>
                                            <p:tgtEl>
                                              <p:spTgt spid="37"/>
                                            </p:tgtEl>
                                          </p:cBhvr>
                                        </p:animEffect>
                                      </p:childTnLst>
                                    </p:cTn>
                                  </p:par>
                                </p:childTnLst>
                              </p:cTn>
                            </p:par>
                            <p:par>
                              <p:cTn id="57" fill="hold">
                                <p:stCondLst>
                                  <p:cond delay="3500"/>
                                </p:stCondLst>
                                <p:childTnLst>
                                  <p:par>
                                    <p:cTn id="58" presetID="2" presetClass="entr" presetSubtype="8" fill="hold" grpId="0" nodeType="afterEffect" p14:presetBounceEnd="46000">
                                      <p:stCondLst>
                                        <p:cond delay="0"/>
                                      </p:stCondLst>
                                      <p:childTnLst>
                                        <p:set>
                                          <p:cBhvr>
                                            <p:cTn id="59" dur="1" fill="hold">
                                              <p:stCondLst>
                                                <p:cond delay="0"/>
                                              </p:stCondLst>
                                            </p:cTn>
                                            <p:tgtEl>
                                              <p:spTgt spid="52"/>
                                            </p:tgtEl>
                                            <p:attrNameLst>
                                              <p:attrName>style.visibility</p:attrName>
                                            </p:attrNameLst>
                                          </p:cBhvr>
                                          <p:to>
                                            <p:strVal val="visible"/>
                                          </p:to>
                                        </p:set>
                                        <p:anim calcmode="lin" valueType="num" p14:bounceEnd="46000">
                                          <p:cBhvr additive="base">
                                            <p:cTn id="60" dur="300" fill="hold"/>
                                            <p:tgtEl>
                                              <p:spTgt spid="52"/>
                                            </p:tgtEl>
                                            <p:attrNameLst>
                                              <p:attrName>ppt_x</p:attrName>
                                            </p:attrNameLst>
                                          </p:cBhvr>
                                          <p:tavLst>
                                            <p:tav tm="0">
                                              <p:val>
                                                <p:strVal val="0-#ppt_w/2"/>
                                              </p:val>
                                            </p:tav>
                                            <p:tav tm="100000">
                                              <p:val>
                                                <p:strVal val="#ppt_x"/>
                                              </p:val>
                                            </p:tav>
                                          </p:tavLst>
                                        </p:anim>
                                        <p:anim calcmode="lin" valueType="num" p14:bounceEnd="46000">
                                          <p:cBhvr additive="base">
                                            <p:cTn id="61" dur="300" fill="hold"/>
                                            <p:tgtEl>
                                              <p:spTgt spid="52"/>
                                            </p:tgtEl>
                                            <p:attrNameLst>
                                              <p:attrName>ppt_y</p:attrName>
                                            </p:attrNameLst>
                                          </p:cBhvr>
                                          <p:tavLst>
                                            <p:tav tm="0">
                                              <p:val>
                                                <p:strVal val="#ppt_y"/>
                                              </p:val>
                                            </p:tav>
                                            <p:tav tm="100000">
                                              <p:val>
                                                <p:strVal val="#ppt_y"/>
                                              </p:val>
                                            </p:tav>
                                          </p:tavLst>
                                        </p:anim>
                                      </p:childTnLst>
                                    </p:cTn>
                                  </p:par>
                                </p:childTnLst>
                              </p:cTn>
                            </p:par>
                            <p:par>
                              <p:cTn id="62" fill="hold">
                                <p:stCondLst>
                                  <p:cond delay="4000"/>
                                </p:stCondLst>
                                <p:childTnLst>
                                  <p:par>
                                    <p:cTn id="63" presetID="22" presetClass="entr" presetSubtype="8" fill="hold" nodeType="after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wipe(left)">
                                          <p:cBhvr>
                                            <p:cTn id="65" dur="500"/>
                                            <p:tgtEl>
                                              <p:spTgt spid="29"/>
                                            </p:tgtEl>
                                          </p:cBhvr>
                                        </p:animEffect>
                                      </p:childTnLst>
                                    </p:cTn>
                                  </p:par>
                                </p:childTnLst>
                              </p:cTn>
                            </p:par>
                            <p:par>
                              <p:cTn id="66" fill="hold">
                                <p:stCondLst>
                                  <p:cond delay="4500"/>
                                </p:stCondLst>
                                <p:childTnLst>
                                  <p:par>
                                    <p:cTn id="67" presetID="2" presetClass="entr" presetSubtype="2" fill="hold" grpId="0" nodeType="afterEffect" p14:presetBounceEnd="46000">
                                      <p:stCondLst>
                                        <p:cond delay="0"/>
                                      </p:stCondLst>
                                      <p:childTnLst>
                                        <p:set>
                                          <p:cBhvr>
                                            <p:cTn id="68" dur="1" fill="hold">
                                              <p:stCondLst>
                                                <p:cond delay="0"/>
                                              </p:stCondLst>
                                            </p:cTn>
                                            <p:tgtEl>
                                              <p:spTgt spid="51"/>
                                            </p:tgtEl>
                                            <p:attrNameLst>
                                              <p:attrName>style.visibility</p:attrName>
                                            </p:attrNameLst>
                                          </p:cBhvr>
                                          <p:to>
                                            <p:strVal val="visible"/>
                                          </p:to>
                                        </p:set>
                                        <p:anim calcmode="lin" valueType="num" p14:bounceEnd="46000">
                                          <p:cBhvr additive="base">
                                            <p:cTn id="69" dur="300" fill="hold"/>
                                            <p:tgtEl>
                                              <p:spTgt spid="51"/>
                                            </p:tgtEl>
                                            <p:attrNameLst>
                                              <p:attrName>ppt_x</p:attrName>
                                            </p:attrNameLst>
                                          </p:cBhvr>
                                          <p:tavLst>
                                            <p:tav tm="0">
                                              <p:val>
                                                <p:strVal val="1+#ppt_w/2"/>
                                              </p:val>
                                            </p:tav>
                                            <p:tav tm="100000">
                                              <p:val>
                                                <p:strVal val="#ppt_x"/>
                                              </p:val>
                                            </p:tav>
                                          </p:tavLst>
                                        </p:anim>
                                        <p:anim calcmode="lin" valueType="num" p14:bounceEnd="46000">
                                          <p:cBhvr additive="base">
                                            <p:cTn id="70" dur="300" fill="hold"/>
                                            <p:tgtEl>
                                              <p:spTgt spid="51"/>
                                            </p:tgtEl>
                                            <p:attrNameLst>
                                              <p:attrName>ppt_y</p:attrName>
                                            </p:attrNameLst>
                                          </p:cBhvr>
                                          <p:tavLst>
                                            <p:tav tm="0">
                                              <p:val>
                                                <p:strVal val="#ppt_y"/>
                                              </p:val>
                                            </p:tav>
                                            <p:tav tm="100000">
                                              <p:val>
                                                <p:strVal val="#ppt_y"/>
                                              </p:val>
                                            </p:tav>
                                          </p:tavLst>
                                        </p:anim>
                                      </p:childTnLst>
                                    </p:cTn>
                                  </p:par>
                                </p:childTnLst>
                              </p:cTn>
                            </p:par>
                            <p:par>
                              <p:cTn id="71" fill="hold">
                                <p:stCondLst>
                                  <p:cond delay="5000"/>
                                </p:stCondLst>
                                <p:childTnLst>
                                  <p:par>
                                    <p:cTn id="72" presetID="22" presetClass="entr" presetSubtype="8"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left)">
                                          <p:cBhvr>
                                            <p:cTn id="74" dur="500"/>
                                            <p:tgtEl>
                                              <p:spTgt spid="33"/>
                                            </p:tgtEl>
                                          </p:cBhvr>
                                        </p:animEffect>
                                      </p:childTnLst>
                                    </p:cTn>
                                  </p:par>
                                </p:childTnLst>
                              </p:cTn>
                            </p:par>
                            <p:par>
                              <p:cTn id="75" fill="hold">
                                <p:stCondLst>
                                  <p:cond delay="5500"/>
                                </p:stCondLst>
                                <p:childTnLst>
                                  <p:par>
                                    <p:cTn id="76" presetID="2" presetClass="entr" presetSubtype="2" fill="hold" grpId="0" nodeType="afterEffect" p14:presetBounceEnd="46000">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14:bounceEnd="46000">
                                          <p:cBhvr additive="base">
                                            <p:cTn id="78" dur="300" fill="hold"/>
                                            <p:tgtEl>
                                              <p:spTgt spid="53"/>
                                            </p:tgtEl>
                                            <p:attrNameLst>
                                              <p:attrName>ppt_x</p:attrName>
                                            </p:attrNameLst>
                                          </p:cBhvr>
                                          <p:tavLst>
                                            <p:tav tm="0">
                                              <p:val>
                                                <p:strVal val="1+#ppt_w/2"/>
                                              </p:val>
                                            </p:tav>
                                            <p:tav tm="100000">
                                              <p:val>
                                                <p:strVal val="#ppt_x"/>
                                              </p:val>
                                            </p:tav>
                                          </p:tavLst>
                                        </p:anim>
                                        <p:anim calcmode="lin" valueType="num" p14:bounceEnd="46000">
                                          <p:cBhvr additive="base">
                                            <p:cTn id="79" dur="300" fill="hold"/>
                                            <p:tgtEl>
                                              <p:spTgt spid="53"/>
                                            </p:tgtEl>
                                            <p:attrNameLst>
                                              <p:attrName>ppt_y</p:attrName>
                                            </p:attrNameLst>
                                          </p:cBhvr>
                                          <p:tavLst>
                                            <p:tav tm="0">
                                              <p:val>
                                                <p:strVal val="#ppt_y"/>
                                              </p:val>
                                            </p:tav>
                                            <p:tav tm="100000">
                                              <p:val>
                                                <p:strVal val="#ppt_y"/>
                                              </p:val>
                                            </p:tav>
                                          </p:tavLst>
                                        </p:anim>
                                      </p:childTnLst>
                                    </p:cTn>
                                  </p:par>
                                </p:childTnLst>
                              </p:cTn>
                            </p:par>
                            <p:par>
                              <p:cTn id="80" fill="hold">
                                <p:stCondLst>
                                  <p:cond delay="6000"/>
                                </p:stCondLst>
                                <p:childTnLst>
                                  <p:par>
                                    <p:cTn id="81" presetID="22" presetClass="entr" presetSubtype="1" fill="hold"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up)">
                                          <p:cBhvr>
                                            <p:cTn id="83" dur="500"/>
                                            <p:tgtEl>
                                              <p:spTgt spid="47"/>
                                            </p:tgtEl>
                                          </p:cBhvr>
                                        </p:animEffect>
                                      </p:childTnLst>
                                    </p:cTn>
                                  </p:par>
                                </p:childTnLst>
                              </p:cTn>
                            </p:par>
                            <p:par>
                              <p:cTn id="84" fill="hold">
                                <p:stCondLst>
                                  <p:cond delay="6500"/>
                                </p:stCondLst>
                                <p:childTnLst>
                                  <p:par>
                                    <p:cTn id="85" presetID="2" presetClass="entr" presetSubtype="4" fill="hold" grpId="0" nodeType="afterEffect" p14:presetBounceEnd="46000">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14:bounceEnd="46000">
                                          <p:cBhvr additive="base">
                                            <p:cTn id="87" dur="300" fill="hold"/>
                                            <p:tgtEl>
                                              <p:spTgt spid="54"/>
                                            </p:tgtEl>
                                            <p:attrNameLst>
                                              <p:attrName>ppt_x</p:attrName>
                                            </p:attrNameLst>
                                          </p:cBhvr>
                                          <p:tavLst>
                                            <p:tav tm="0">
                                              <p:val>
                                                <p:strVal val="#ppt_x"/>
                                              </p:val>
                                            </p:tav>
                                            <p:tav tm="100000">
                                              <p:val>
                                                <p:strVal val="#ppt_x"/>
                                              </p:val>
                                            </p:tav>
                                          </p:tavLst>
                                        </p:anim>
                                        <p:anim calcmode="lin" valueType="num" p14:bounceEnd="46000">
                                          <p:cBhvr additive="base">
                                            <p:cTn id="88" dur="300" fill="hold"/>
                                            <p:tgtEl>
                                              <p:spTgt spid="54"/>
                                            </p:tgtEl>
                                            <p:attrNameLst>
                                              <p:attrName>ppt_y</p:attrName>
                                            </p:attrNameLst>
                                          </p:cBhvr>
                                          <p:tavLst>
                                            <p:tav tm="0">
                                              <p:val>
                                                <p:strVal val="1+#ppt_h/2"/>
                                              </p:val>
                                            </p:tav>
                                            <p:tav tm="100000">
                                              <p:val>
                                                <p:strVal val="#ppt_y"/>
                                              </p:val>
                                            </p:tav>
                                          </p:tavLst>
                                        </p:anim>
                                      </p:childTnLst>
                                    </p:cTn>
                                  </p:par>
                                </p:childTnLst>
                              </p:cTn>
                            </p:par>
                            <p:par>
                              <p:cTn id="89" fill="hold">
                                <p:stCondLst>
                                  <p:cond delay="7000"/>
                                </p:stCondLst>
                                <p:childTnLst>
                                  <p:par>
                                    <p:cTn id="90" presetID="22" presetClass="entr" presetSubtype="2" fill="hold"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right)">
                                          <p:cBhvr>
                                            <p:cTn id="92" dur="500"/>
                                            <p:tgtEl>
                                              <p:spTgt spid="41"/>
                                            </p:tgtEl>
                                          </p:cBhvr>
                                        </p:animEffect>
                                      </p:childTnLst>
                                    </p:cTn>
                                  </p:par>
                                </p:childTnLst>
                              </p:cTn>
                            </p:par>
                            <p:par>
                              <p:cTn id="93" fill="hold">
                                <p:stCondLst>
                                  <p:cond delay="7500"/>
                                </p:stCondLst>
                                <p:childTnLst>
                                  <p:par>
                                    <p:cTn id="94" presetID="2" presetClass="entr" presetSubtype="8" fill="hold" grpId="0" nodeType="afterEffect" p14:presetBounceEnd="46000">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14:bounceEnd="46000">
                                          <p:cBhvr additive="base">
                                            <p:cTn id="96" dur="300" fill="hold"/>
                                            <p:tgtEl>
                                              <p:spTgt spid="55"/>
                                            </p:tgtEl>
                                            <p:attrNameLst>
                                              <p:attrName>ppt_x</p:attrName>
                                            </p:attrNameLst>
                                          </p:cBhvr>
                                          <p:tavLst>
                                            <p:tav tm="0">
                                              <p:val>
                                                <p:strVal val="0-#ppt_w/2"/>
                                              </p:val>
                                            </p:tav>
                                            <p:tav tm="100000">
                                              <p:val>
                                                <p:strVal val="#ppt_x"/>
                                              </p:val>
                                            </p:tav>
                                          </p:tavLst>
                                        </p:anim>
                                        <p:anim calcmode="lin" valueType="num" p14:bounceEnd="46000">
                                          <p:cBhvr additive="base">
                                            <p:cTn id="97" dur="3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51" grpId="0"/>
          <p:bldP spid="52" grpId="0"/>
          <p:bldP spid="53" grpId="0"/>
          <p:bldP spid="54" grpId="0"/>
          <p:bldP spid="5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500"/>
                                            <p:tgtEl>
                                              <p:spTgt spid="18"/>
                                            </p:tgtEl>
                                          </p:cBhvr>
                                        </p:animEffect>
                                      </p:childTnLst>
                                    </p:cTn>
                                  </p:par>
                                  <p:par>
                                    <p:cTn id="8" presetID="2" presetClass="entr" presetSubtype="9"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300" fill="hold"/>
                                            <p:tgtEl>
                                              <p:spTgt spid="19"/>
                                            </p:tgtEl>
                                            <p:attrNameLst>
                                              <p:attrName>ppt_x</p:attrName>
                                            </p:attrNameLst>
                                          </p:cBhvr>
                                          <p:tavLst>
                                            <p:tav tm="0">
                                              <p:val>
                                                <p:strVal val="0-#ppt_w/2"/>
                                              </p:val>
                                            </p:tav>
                                            <p:tav tm="100000">
                                              <p:val>
                                                <p:strVal val="#ppt_x"/>
                                              </p:val>
                                            </p:tav>
                                          </p:tavLst>
                                        </p:anim>
                                        <p:anim calcmode="lin" valueType="num">
                                          <p:cBhvr additive="base">
                                            <p:cTn id="11" dur="30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3"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300" fill="hold"/>
                                            <p:tgtEl>
                                              <p:spTgt spid="20"/>
                                            </p:tgtEl>
                                            <p:attrNameLst>
                                              <p:attrName>ppt_x</p:attrName>
                                            </p:attrNameLst>
                                          </p:cBhvr>
                                          <p:tavLst>
                                            <p:tav tm="0">
                                              <p:val>
                                                <p:strVal val="1+#ppt_w/2"/>
                                              </p:val>
                                            </p:tav>
                                            <p:tav tm="100000">
                                              <p:val>
                                                <p:strVal val="#ppt_x"/>
                                              </p:val>
                                            </p:tav>
                                          </p:tavLst>
                                        </p:anim>
                                        <p:anim calcmode="lin" valueType="num">
                                          <p:cBhvr additive="base">
                                            <p:cTn id="15" dur="300" fill="hold"/>
                                            <p:tgtEl>
                                              <p:spTgt spid="20"/>
                                            </p:tgtEl>
                                            <p:attrNameLst>
                                              <p:attrName>ppt_y</p:attrName>
                                            </p:attrNameLst>
                                          </p:cBhvr>
                                          <p:tavLst>
                                            <p:tav tm="0">
                                              <p:val>
                                                <p:strVal val="0-#ppt_h/2"/>
                                              </p:val>
                                            </p:tav>
                                            <p:tav tm="100000">
                                              <p:val>
                                                <p:strVal val="#ppt_y"/>
                                              </p:val>
                                            </p:tav>
                                          </p:tavLst>
                                        </p:anim>
                                      </p:childTnLst>
                                    </p:cTn>
                                  </p:par>
                                  <p:par>
                                    <p:cTn id="16" presetID="2" presetClass="entr" presetSubtype="6"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300" fill="hold"/>
                                            <p:tgtEl>
                                              <p:spTgt spid="21"/>
                                            </p:tgtEl>
                                            <p:attrNameLst>
                                              <p:attrName>ppt_x</p:attrName>
                                            </p:attrNameLst>
                                          </p:cBhvr>
                                          <p:tavLst>
                                            <p:tav tm="0">
                                              <p:val>
                                                <p:strVal val="1+#ppt_w/2"/>
                                              </p:val>
                                            </p:tav>
                                            <p:tav tm="100000">
                                              <p:val>
                                                <p:strVal val="#ppt_x"/>
                                              </p:val>
                                            </p:tav>
                                          </p:tavLst>
                                        </p:anim>
                                        <p:anim calcmode="lin" valueType="num">
                                          <p:cBhvr additive="base">
                                            <p:cTn id="19" dur="300" fill="hold"/>
                                            <p:tgtEl>
                                              <p:spTgt spid="2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300" fill="hold"/>
                                            <p:tgtEl>
                                              <p:spTgt spid="22"/>
                                            </p:tgtEl>
                                            <p:attrNameLst>
                                              <p:attrName>ppt_x</p:attrName>
                                            </p:attrNameLst>
                                          </p:cBhvr>
                                          <p:tavLst>
                                            <p:tav tm="0">
                                              <p:val>
                                                <p:strVal val="#ppt_x"/>
                                              </p:val>
                                            </p:tav>
                                            <p:tav tm="100000">
                                              <p:val>
                                                <p:strVal val="#ppt_x"/>
                                              </p:val>
                                            </p:tav>
                                          </p:tavLst>
                                        </p:anim>
                                        <p:anim calcmode="lin" valueType="num">
                                          <p:cBhvr additive="base">
                                            <p:cTn id="23" dur="300" fill="hold"/>
                                            <p:tgtEl>
                                              <p:spTgt spid="22"/>
                                            </p:tgtEl>
                                            <p:attrNameLst>
                                              <p:attrName>ppt_y</p:attrName>
                                            </p:attrNameLst>
                                          </p:cBhvr>
                                          <p:tavLst>
                                            <p:tav tm="0">
                                              <p:val>
                                                <p:strVal val="1+#ppt_h/2"/>
                                              </p:val>
                                            </p:tav>
                                            <p:tav tm="100000">
                                              <p:val>
                                                <p:strVal val="#ppt_y"/>
                                              </p:val>
                                            </p:tav>
                                          </p:tavLst>
                                        </p:anim>
                                      </p:childTnLst>
                                    </p:cTn>
                                  </p:par>
                                  <p:par>
                                    <p:cTn id="24" presetID="2" presetClass="entr" presetSubtype="12"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additive="base">
                                            <p:cTn id="26" dur="300" fill="hold"/>
                                            <p:tgtEl>
                                              <p:spTgt spid="23"/>
                                            </p:tgtEl>
                                            <p:attrNameLst>
                                              <p:attrName>ppt_x</p:attrName>
                                            </p:attrNameLst>
                                          </p:cBhvr>
                                          <p:tavLst>
                                            <p:tav tm="0">
                                              <p:val>
                                                <p:strVal val="0-#ppt_w/2"/>
                                              </p:val>
                                            </p:tav>
                                            <p:tav tm="100000">
                                              <p:val>
                                                <p:strVal val="#ppt_x"/>
                                              </p:val>
                                            </p:tav>
                                          </p:tavLst>
                                        </p:anim>
                                        <p:anim calcmode="lin" valueType="num">
                                          <p:cBhvr additive="base">
                                            <p:cTn id="27" dur="300" fill="hold"/>
                                            <p:tgtEl>
                                              <p:spTgt spid="23"/>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 fill="hold"/>
                                            <p:tgtEl>
                                              <p:spTgt spid="24"/>
                                            </p:tgtEl>
                                            <p:attrNameLst>
                                              <p:attrName>ppt_w</p:attrName>
                                            </p:attrNameLst>
                                          </p:cBhvr>
                                          <p:tavLst>
                                            <p:tav tm="0">
                                              <p:val>
                                                <p:fltVal val="0"/>
                                              </p:val>
                                            </p:tav>
                                            <p:tav tm="100000">
                                              <p:val>
                                                <p:strVal val="#ppt_w"/>
                                              </p:val>
                                            </p:tav>
                                          </p:tavLst>
                                        </p:anim>
                                        <p:anim calcmode="lin" valueType="num">
                                          <p:cBhvr>
                                            <p:cTn id="32" dur="300" fill="hold"/>
                                            <p:tgtEl>
                                              <p:spTgt spid="24"/>
                                            </p:tgtEl>
                                            <p:attrNameLst>
                                              <p:attrName>ppt_h</p:attrName>
                                            </p:attrNameLst>
                                          </p:cBhvr>
                                          <p:tavLst>
                                            <p:tav tm="0">
                                              <p:val>
                                                <p:fltVal val="0"/>
                                              </p:val>
                                            </p:tav>
                                            <p:tav tm="100000">
                                              <p:val>
                                                <p:strVal val="#ppt_h"/>
                                              </p:val>
                                            </p:tav>
                                          </p:tavLst>
                                        </p:anim>
                                      </p:childTnLst>
                                    </p:cTn>
                                  </p:par>
                                </p:childTnLst>
                              </p:cTn>
                            </p:par>
                            <p:par>
                              <p:cTn id="33" fill="hold">
                                <p:stCondLst>
                                  <p:cond delay="1000"/>
                                </p:stCondLst>
                                <p:childTnLst>
                                  <p:par>
                                    <p:cTn id="34" presetID="23" presetClass="entr" presetSubtype="16"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300" fill="hold"/>
                                            <p:tgtEl>
                                              <p:spTgt spid="25"/>
                                            </p:tgtEl>
                                            <p:attrNameLst>
                                              <p:attrName>ppt_w</p:attrName>
                                            </p:attrNameLst>
                                          </p:cBhvr>
                                          <p:tavLst>
                                            <p:tav tm="0">
                                              <p:val>
                                                <p:fltVal val="0"/>
                                              </p:val>
                                            </p:tav>
                                            <p:tav tm="100000">
                                              <p:val>
                                                <p:strVal val="#ppt_w"/>
                                              </p:val>
                                            </p:tav>
                                          </p:tavLst>
                                        </p:anim>
                                        <p:anim calcmode="lin" valueType="num">
                                          <p:cBhvr>
                                            <p:cTn id="37" dur="3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500"/>
                                </p:stCondLst>
                                <p:childTnLst>
                                  <p:par>
                                    <p:cTn id="39" presetID="23" presetClass="entr" presetSubtype="16"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00" fill="hold"/>
                                            <p:tgtEl>
                                              <p:spTgt spid="26"/>
                                            </p:tgtEl>
                                            <p:attrNameLst>
                                              <p:attrName>ppt_w</p:attrName>
                                            </p:attrNameLst>
                                          </p:cBhvr>
                                          <p:tavLst>
                                            <p:tav tm="0">
                                              <p:val>
                                                <p:fltVal val="0"/>
                                              </p:val>
                                            </p:tav>
                                            <p:tav tm="100000">
                                              <p:val>
                                                <p:strVal val="#ppt_w"/>
                                              </p:val>
                                            </p:tav>
                                          </p:tavLst>
                                        </p:anim>
                                        <p:anim calcmode="lin" valueType="num">
                                          <p:cBhvr>
                                            <p:cTn id="42" dur="300" fill="hold"/>
                                            <p:tgtEl>
                                              <p:spTgt spid="26"/>
                                            </p:tgtEl>
                                            <p:attrNameLst>
                                              <p:attrName>ppt_h</p:attrName>
                                            </p:attrNameLst>
                                          </p:cBhvr>
                                          <p:tavLst>
                                            <p:tav tm="0">
                                              <p:val>
                                                <p:fltVal val="0"/>
                                              </p:val>
                                            </p:tav>
                                            <p:tav tm="100000">
                                              <p:val>
                                                <p:strVal val="#ppt_h"/>
                                              </p:val>
                                            </p:tav>
                                          </p:tavLst>
                                        </p:anim>
                                      </p:childTnLst>
                                    </p:cTn>
                                  </p:par>
                                </p:childTnLst>
                              </p:cTn>
                            </p:par>
                            <p:par>
                              <p:cTn id="43" fill="hold">
                                <p:stCondLst>
                                  <p:cond delay="2000"/>
                                </p:stCondLst>
                                <p:childTnLst>
                                  <p:par>
                                    <p:cTn id="44" presetID="23" presetClass="entr" presetSubtype="16"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p:cTn id="46" dur="300" fill="hold"/>
                                            <p:tgtEl>
                                              <p:spTgt spid="27"/>
                                            </p:tgtEl>
                                            <p:attrNameLst>
                                              <p:attrName>ppt_w</p:attrName>
                                            </p:attrNameLst>
                                          </p:cBhvr>
                                          <p:tavLst>
                                            <p:tav tm="0">
                                              <p:val>
                                                <p:fltVal val="0"/>
                                              </p:val>
                                            </p:tav>
                                            <p:tav tm="100000">
                                              <p:val>
                                                <p:strVal val="#ppt_w"/>
                                              </p:val>
                                            </p:tav>
                                          </p:tavLst>
                                        </p:anim>
                                        <p:anim calcmode="lin" valueType="num">
                                          <p:cBhvr>
                                            <p:cTn id="47" dur="300" fill="hold"/>
                                            <p:tgtEl>
                                              <p:spTgt spid="27"/>
                                            </p:tgtEl>
                                            <p:attrNameLst>
                                              <p:attrName>ppt_h</p:attrName>
                                            </p:attrNameLst>
                                          </p:cBhvr>
                                          <p:tavLst>
                                            <p:tav tm="0">
                                              <p:val>
                                                <p:fltVal val="0"/>
                                              </p:val>
                                            </p:tav>
                                            <p:tav tm="100000">
                                              <p:val>
                                                <p:strVal val="#ppt_h"/>
                                              </p:val>
                                            </p:tav>
                                          </p:tavLst>
                                        </p:anim>
                                      </p:childTnLst>
                                    </p:cTn>
                                  </p:par>
                                </p:childTnLst>
                              </p:cTn>
                            </p:par>
                            <p:par>
                              <p:cTn id="48" fill="hold">
                                <p:stCondLst>
                                  <p:cond delay="2500"/>
                                </p:stCondLst>
                                <p:childTnLst>
                                  <p:par>
                                    <p:cTn id="49" presetID="23" presetClass="entr" presetSubtype="16"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p:cTn id="51" dur="300" fill="hold"/>
                                            <p:tgtEl>
                                              <p:spTgt spid="28"/>
                                            </p:tgtEl>
                                            <p:attrNameLst>
                                              <p:attrName>ppt_w</p:attrName>
                                            </p:attrNameLst>
                                          </p:cBhvr>
                                          <p:tavLst>
                                            <p:tav tm="0">
                                              <p:val>
                                                <p:fltVal val="0"/>
                                              </p:val>
                                            </p:tav>
                                            <p:tav tm="100000">
                                              <p:val>
                                                <p:strVal val="#ppt_w"/>
                                              </p:val>
                                            </p:tav>
                                          </p:tavLst>
                                        </p:anim>
                                        <p:anim calcmode="lin" valueType="num">
                                          <p:cBhvr>
                                            <p:cTn id="52" dur="300" fill="hold"/>
                                            <p:tgtEl>
                                              <p:spTgt spid="28"/>
                                            </p:tgtEl>
                                            <p:attrNameLst>
                                              <p:attrName>ppt_h</p:attrName>
                                            </p:attrNameLst>
                                          </p:cBhvr>
                                          <p:tavLst>
                                            <p:tav tm="0">
                                              <p:val>
                                                <p:fltVal val="0"/>
                                              </p:val>
                                            </p:tav>
                                            <p:tav tm="100000">
                                              <p:val>
                                                <p:strVal val="#ppt_h"/>
                                              </p:val>
                                            </p:tav>
                                          </p:tavLst>
                                        </p:anim>
                                      </p:childTnLst>
                                    </p:cTn>
                                  </p:par>
                                </p:childTnLst>
                              </p:cTn>
                            </p:par>
                            <p:par>
                              <p:cTn id="53" fill="hold">
                                <p:stCondLst>
                                  <p:cond delay="3000"/>
                                </p:stCondLst>
                                <p:childTnLst>
                                  <p:par>
                                    <p:cTn id="54" presetID="22" presetClass="entr" presetSubtype="2" fill="hold"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right)">
                                          <p:cBhvr>
                                            <p:cTn id="56" dur="500"/>
                                            <p:tgtEl>
                                              <p:spTgt spid="37"/>
                                            </p:tgtEl>
                                          </p:cBhvr>
                                        </p:animEffect>
                                      </p:childTnLst>
                                    </p:cTn>
                                  </p:par>
                                </p:childTnLst>
                              </p:cTn>
                            </p:par>
                            <p:par>
                              <p:cTn id="57" fill="hold">
                                <p:stCondLst>
                                  <p:cond delay="3500"/>
                                </p:stCondLst>
                                <p:childTnLst>
                                  <p:par>
                                    <p:cTn id="58" presetID="2" presetClass="entr" presetSubtype="8" fill="hold" grpId="0" nodeType="afterEffect">
                                      <p:stCondLst>
                                        <p:cond delay="0"/>
                                      </p:stCondLst>
                                      <p:childTnLst>
                                        <p:set>
                                          <p:cBhvr>
                                            <p:cTn id="59" dur="1" fill="hold">
                                              <p:stCondLst>
                                                <p:cond delay="0"/>
                                              </p:stCondLst>
                                            </p:cTn>
                                            <p:tgtEl>
                                              <p:spTgt spid="52"/>
                                            </p:tgtEl>
                                            <p:attrNameLst>
                                              <p:attrName>style.visibility</p:attrName>
                                            </p:attrNameLst>
                                          </p:cBhvr>
                                          <p:to>
                                            <p:strVal val="visible"/>
                                          </p:to>
                                        </p:set>
                                        <p:anim calcmode="lin" valueType="num">
                                          <p:cBhvr additive="base">
                                            <p:cTn id="60" dur="300" fill="hold"/>
                                            <p:tgtEl>
                                              <p:spTgt spid="52"/>
                                            </p:tgtEl>
                                            <p:attrNameLst>
                                              <p:attrName>ppt_x</p:attrName>
                                            </p:attrNameLst>
                                          </p:cBhvr>
                                          <p:tavLst>
                                            <p:tav tm="0">
                                              <p:val>
                                                <p:strVal val="0-#ppt_w/2"/>
                                              </p:val>
                                            </p:tav>
                                            <p:tav tm="100000">
                                              <p:val>
                                                <p:strVal val="#ppt_x"/>
                                              </p:val>
                                            </p:tav>
                                          </p:tavLst>
                                        </p:anim>
                                        <p:anim calcmode="lin" valueType="num">
                                          <p:cBhvr additive="base">
                                            <p:cTn id="61" dur="300" fill="hold"/>
                                            <p:tgtEl>
                                              <p:spTgt spid="52"/>
                                            </p:tgtEl>
                                            <p:attrNameLst>
                                              <p:attrName>ppt_y</p:attrName>
                                            </p:attrNameLst>
                                          </p:cBhvr>
                                          <p:tavLst>
                                            <p:tav tm="0">
                                              <p:val>
                                                <p:strVal val="#ppt_y"/>
                                              </p:val>
                                            </p:tav>
                                            <p:tav tm="100000">
                                              <p:val>
                                                <p:strVal val="#ppt_y"/>
                                              </p:val>
                                            </p:tav>
                                          </p:tavLst>
                                        </p:anim>
                                      </p:childTnLst>
                                    </p:cTn>
                                  </p:par>
                                </p:childTnLst>
                              </p:cTn>
                            </p:par>
                            <p:par>
                              <p:cTn id="62" fill="hold">
                                <p:stCondLst>
                                  <p:cond delay="4000"/>
                                </p:stCondLst>
                                <p:childTnLst>
                                  <p:par>
                                    <p:cTn id="63" presetID="22" presetClass="entr" presetSubtype="8" fill="hold" nodeType="after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wipe(left)">
                                          <p:cBhvr>
                                            <p:cTn id="65" dur="500"/>
                                            <p:tgtEl>
                                              <p:spTgt spid="29"/>
                                            </p:tgtEl>
                                          </p:cBhvr>
                                        </p:animEffect>
                                      </p:childTnLst>
                                    </p:cTn>
                                  </p:par>
                                </p:childTnLst>
                              </p:cTn>
                            </p:par>
                            <p:par>
                              <p:cTn id="66" fill="hold">
                                <p:stCondLst>
                                  <p:cond delay="4500"/>
                                </p:stCondLst>
                                <p:childTnLst>
                                  <p:par>
                                    <p:cTn id="67" presetID="2" presetClass="entr" presetSubtype="2" fill="hold" grpId="0" nodeType="afterEffect">
                                      <p:stCondLst>
                                        <p:cond delay="0"/>
                                      </p:stCondLst>
                                      <p:childTnLst>
                                        <p:set>
                                          <p:cBhvr>
                                            <p:cTn id="68" dur="1" fill="hold">
                                              <p:stCondLst>
                                                <p:cond delay="0"/>
                                              </p:stCondLst>
                                            </p:cTn>
                                            <p:tgtEl>
                                              <p:spTgt spid="51"/>
                                            </p:tgtEl>
                                            <p:attrNameLst>
                                              <p:attrName>style.visibility</p:attrName>
                                            </p:attrNameLst>
                                          </p:cBhvr>
                                          <p:to>
                                            <p:strVal val="visible"/>
                                          </p:to>
                                        </p:set>
                                        <p:anim calcmode="lin" valueType="num">
                                          <p:cBhvr additive="base">
                                            <p:cTn id="69" dur="300" fill="hold"/>
                                            <p:tgtEl>
                                              <p:spTgt spid="51"/>
                                            </p:tgtEl>
                                            <p:attrNameLst>
                                              <p:attrName>ppt_x</p:attrName>
                                            </p:attrNameLst>
                                          </p:cBhvr>
                                          <p:tavLst>
                                            <p:tav tm="0">
                                              <p:val>
                                                <p:strVal val="1+#ppt_w/2"/>
                                              </p:val>
                                            </p:tav>
                                            <p:tav tm="100000">
                                              <p:val>
                                                <p:strVal val="#ppt_x"/>
                                              </p:val>
                                            </p:tav>
                                          </p:tavLst>
                                        </p:anim>
                                        <p:anim calcmode="lin" valueType="num">
                                          <p:cBhvr additive="base">
                                            <p:cTn id="70" dur="300" fill="hold"/>
                                            <p:tgtEl>
                                              <p:spTgt spid="51"/>
                                            </p:tgtEl>
                                            <p:attrNameLst>
                                              <p:attrName>ppt_y</p:attrName>
                                            </p:attrNameLst>
                                          </p:cBhvr>
                                          <p:tavLst>
                                            <p:tav tm="0">
                                              <p:val>
                                                <p:strVal val="#ppt_y"/>
                                              </p:val>
                                            </p:tav>
                                            <p:tav tm="100000">
                                              <p:val>
                                                <p:strVal val="#ppt_y"/>
                                              </p:val>
                                            </p:tav>
                                          </p:tavLst>
                                        </p:anim>
                                      </p:childTnLst>
                                    </p:cTn>
                                  </p:par>
                                </p:childTnLst>
                              </p:cTn>
                            </p:par>
                            <p:par>
                              <p:cTn id="71" fill="hold">
                                <p:stCondLst>
                                  <p:cond delay="5000"/>
                                </p:stCondLst>
                                <p:childTnLst>
                                  <p:par>
                                    <p:cTn id="72" presetID="22" presetClass="entr" presetSubtype="8"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left)">
                                          <p:cBhvr>
                                            <p:cTn id="74" dur="500"/>
                                            <p:tgtEl>
                                              <p:spTgt spid="33"/>
                                            </p:tgtEl>
                                          </p:cBhvr>
                                        </p:animEffect>
                                      </p:childTnLst>
                                    </p:cTn>
                                  </p:par>
                                </p:childTnLst>
                              </p:cTn>
                            </p:par>
                            <p:par>
                              <p:cTn id="75" fill="hold">
                                <p:stCondLst>
                                  <p:cond delay="5500"/>
                                </p:stCondLst>
                                <p:childTnLst>
                                  <p:par>
                                    <p:cTn id="76" presetID="2" presetClass="entr" presetSubtype="2" fill="hold" grpId="0" nodeType="afterEffect">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cBhvr additive="base">
                                            <p:cTn id="78" dur="300" fill="hold"/>
                                            <p:tgtEl>
                                              <p:spTgt spid="53"/>
                                            </p:tgtEl>
                                            <p:attrNameLst>
                                              <p:attrName>ppt_x</p:attrName>
                                            </p:attrNameLst>
                                          </p:cBhvr>
                                          <p:tavLst>
                                            <p:tav tm="0">
                                              <p:val>
                                                <p:strVal val="1+#ppt_w/2"/>
                                              </p:val>
                                            </p:tav>
                                            <p:tav tm="100000">
                                              <p:val>
                                                <p:strVal val="#ppt_x"/>
                                              </p:val>
                                            </p:tav>
                                          </p:tavLst>
                                        </p:anim>
                                        <p:anim calcmode="lin" valueType="num">
                                          <p:cBhvr additive="base">
                                            <p:cTn id="79" dur="300" fill="hold"/>
                                            <p:tgtEl>
                                              <p:spTgt spid="53"/>
                                            </p:tgtEl>
                                            <p:attrNameLst>
                                              <p:attrName>ppt_y</p:attrName>
                                            </p:attrNameLst>
                                          </p:cBhvr>
                                          <p:tavLst>
                                            <p:tav tm="0">
                                              <p:val>
                                                <p:strVal val="#ppt_y"/>
                                              </p:val>
                                            </p:tav>
                                            <p:tav tm="100000">
                                              <p:val>
                                                <p:strVal val="#ppt_y"/>
                                              </p:val>
                                            </p:tav>
                                          </p:tavLst>
                                        </p:anim>
                                      </p:childTnLst>
                                    </p:cTn>
                                  </p:par>
                                </p:childTnLst>
                              </p:cTn>
                            </p:par>
                            <p:par>
                              <p:cTn id="80" fill="hold">
                                <p:stCondLst>
                                  <p:cond delay="6000"/>
                                </p:stCondLst>
                                <p:childTnLst>
                                  <p:par>
                                    <p:cTn id="81" presetID="22" presetClass="entr" presetSubtype="1" fill="hold"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up)">
                                          <p:cBhvr>
                                            <p:cTn id="83" dur="500"/>
                                            <p:tgtEl>
                                              <p:spTgt spid="47"/>
                                            </p:tgtEl>
                                          </p:cBhvr>
                                        </p:animEffect>
                                      </p:childTnLst>
                                    </p:cTn>
                                  </p:par>
                                </p:childTnLst>
                              </p:cTn>
                            </p:par>
                            <p:par>
                              <p:cTn id="84" fill="hold">
                                <p:stCondLst>
                                  <p:cond delay="6500"/>
                                </p:stCondLst>
                                <p:childTnLst>
                                  <p:par>
                                    <p:cTn id="85" presetID="2" presetClass="entr" presetSubtype="4" fill="hold" grpId="0" nodeType="afterEffect">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cBhvr additive="base">
                                            <p:cTn id="87" dur="300" fill="hold"/>
                                            <p:tgtEl>
                                              <p:spTgt spid="54"/>
                                            </p:tgtEl>
                                            <p:attrNameLst>
                                              <p:attrName>ppt_x</p:attrName>
                                            </p:attrNameLst>
                                          </p:cBhvr>
                                          <p:tavLst>
                                            <p:tav tm="0">
                                              <p:val>
                                                <p:strVal val="#ppt_x"/>
                                              </p:val>
                                            </p:tav>
                                            <p:tav tm="100000">
                                              <p:val>
                                                <p:strVal val="#ppt_x"/>
                                              </p:val>
                                            </p:tav>
                                          </p:tavLst>
                                        </p:anim>
                                        <p:anim calcmode="lin" valueType="num">
                                          <p:cBhvr additive="base">
                                            <p:cTn id="88" dur="300" fill="hold"/>
                                            <p:tgtEl>
                                              <p:spTgt spid="54"/>
                                            </p:tgtEl>
                                            <p:attrNameLst>
                                              <p:attrName>ppt_y</p:attrName>
                                            </p:attrNameLst>
                                          </p:cBhvr>
                                          <p:tavLst>
                                            <p:tav tm="0">
                                              <p:val>
                                                <p:strVal val="1+#ppt_h/2"/>
                                              </p:val>
                                            </p:tav>
                                            <p:tav tm="100000">
                                              <p:val>
                                                <p:strVal val="#ppt_y"/>
                                              </p:val>
                                            </p:tav>
                                          </p:tavLst>
                                        </p:anim>
                                      </p:childTnLst>
                                    </p:cTn>
                                  </p:par>
                                </p:childTnLst>
                              </p:cTn>
                            </p:par>
                            <p:par>
                              <p:cTn id="89" fill="hold">
                                <p:stCondLst>
                                  <p:cond delay="7000"/>
                                </p:stCondLst>
                                <p:childTnLst>
                                  <p:par>
                                    <p:cTn id="90" presetID="22" presetClass="entr" presetSubtype="2" fill="hold"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right)">
                                          <p:cBhvr>
                                            <p:cTn id="92" dur="500"/>
                                            <p:tgtEl>
                                              <p:spTgt spid="41"/>
                                            </p:tgtEl>
                                          </p:cBhvr>
                                        </p:animEffect>
                                      </p:childTnLst>
                                    </p:cTn>
                                  </p:par>
                                </p:childTnLst>
                              </p:cTn>
                            </p:par>
                            <p:par>
                              <p:cTn id="93" fill="hold">
                                <p:stCondLst>
                                  <p:cond delay="7500"/>
                                </p:stCondLst>
                                <p:childTnLst>
                                  <p:par>
                                    <p:cTn id="94" presetID="2" presetClass="entr" presetSubtype="8" fill="hold" grpId="0" nodeType="afterEffect">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cBhvr additive="base">
                                            <p:cTn id="96" dur="300" fill="hold"/>
                                            <p:tgtEl>
                                              <p:spTgt spid="55"/>
                                            </p:tgtEl>
                                            <p:attrNameLst>
                                              <p:attrName>ppt_x</p:attrName>
                                            </p:attrNameLst>
                                          </p:cBhvr>
                                          <p:tavLst>
                                            <p:tav tm="0">
                                              <p:val>
                                                <p:strVal val="0-#ppt_w/2"/>
                                              </p:val>
                                            </p:tav>
                                            <p:tav tm="100000">
                                              <p:val>
                                                <p:strVal val="#ppt_x"/>
                                              </p:val>
                                            </p:tav>
                                          </p:tavLst>
                                        </p:anim>
                                        <p:anim calcmode="lin" valueType="num">
                                          <p:cBhvr additive="base">
                                            <p:cTn id="97" dur="3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51" grpId="0"/>
          <p:bldP spid="52" grpId="0"/>
          <p:bldP spid="53" grpId="0"/>
          <p:bldP spid="54" grpId="0"/>
          <p:bldP spid="55"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矩形 1"/>
          <p:cNvSpPr/>
          <p:nvPr/>
        </p:nvSpPr>
        <p:spPr>
          <a:xfrm flipH="1">
            <a:off x="3361027"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flipH="1">
            <a:off x="3467374" y="2014404"/>
            <a:ext cx="808270" cy="800223"/>
            <a:chOff x="1486694" y="2665507"/>
            <a:chExt cx="1297399" cy="1284485"/>
          </a:xfrm>
        </p:grpSpPr>
        <p:sp>
          <p:nvSpPr>
            <p:cNvPr id="7" name="Freeform 5"/>
            <p:cNvSpPr/>
            <p:nvPr/>
          </p:nvSpPr>
          <p:spPr bwMode="auto">
            <a:xfrm rot="5400000">
              <a:off x="1476182" y="2728182"/>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1</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grpSp>
        <p:nvGrpSpPr>
          <p:cNvPr id="9" name="组合 8"/>
          <p:cNvGrpSpPr/>
          <p:nvPr/>
        </p:nvGrpSpPr>
        <p:grpSpPr>
          <a:xfrm flipH="1">
            <a:off x="4777662" y="2014404"/>
            <a:ext cx="808270" cy="800223"/>
            <a:chOff x="4222998" y="2665507"/>
            <a:chExt cx="1297399" cy="1284485"/>
          </a:xfrm>
        </p:grpSpPr>
        <p:sp>
          <p:nvSpPr>
            <p:cNvPr id="10" name="Freeform 5"/>
            <p:cNvSpPr/>
            <p:nvPr/>
          </p:nvSpPr>
          <p:spPr bwMode="auto">
            <a:xfrm rot="5400000">
              <a:off x="4226425" y="2728182"/>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2</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flipH="1">
            <a:off x="6059733" y="2014404"/>
            <a:ext cx="808270" cy="800223"/>
            <a:chOff x="6959302" y="2689493"/>
            <a:chExt cx="1297399" cy="1284485"/>
          </a:xfrm>
        </p:grpSpPr>
        <p:sp>
          <p:nvSpPr>
            <p:cNvPr id="13" name="Freeform 5"/>
            <p:cNvSpPr/>
            <p:nvPr/>
          </p:nvSpPr>
          <p:spPr bwMode="auto">
            <a:xfrm rot="5400000">
              <a:off x="6967655" y="2752168"/>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3</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grpSp>
        <p:nvGrpSpPr>
          <p:cNvPr id="15" name="组合 14"/>
          <p:cNvGrpSpPr/>
          <p:nvPr/>
        </p:nvGrpSpPr>
        <p:grpSpPr>
          <a:xfrm flipH="1">
            <a:off x="7329874" y="2014404"/>
            <a:ext cx="808270" cy="800223"/>
            <a:chOff x="9479582" y="2562069"/>
            <a:chExt cx="1297399" cy="1284485"/>
          </a:xfrm>
        </p:grpSpPr>
        <p:sp>
          <p:nvSpPr>
            <p:cNvPr id="16" name="Freeform 5"/>
            <p:cNvSpPr/>
            <p:nvPr/>
          </p:nvSpPr>
          <p:spPr bwMode="auto">
            <a:xfrm rot="5400000">
              <a:off x="9456528" y="2624744"/>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60" b="1" dirty="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60" b="1" dirty="0">
                  <a:solidFill>
                    <a:schemeClr val="bg1"/>
                  </a:solidFill>
                  <a:latin typeface="微软雅黑" panose="020B0503020204020204" pitchFamily="34" charset="-122"/>
                  <a:ea typeface="微软雅黑" panose="020B0503020204020204" pitchFamily="34" charset="-122"/>
                </a:rPr>
                <a:t>04</a:t>
              </a:r>
              <a:endParaRPr lang="zh-CN" altLang="en-US" sz="2060" b="1" dirty="0">
                <a:solidFill>
                  <a:schemeClr val="bg1"/>
                </a:solidFill>
                <a:latin typeface="微软雅黑" panose="020B0503020204020204" pitchFamily="34" charset="-122"/>
                <a:ea typeface="微软雅黑" panose="020B0503020204020204" pitchFamily="34" charset="-122"/>
              </a:endParaRPr>
            </a:p>
          </p:txBody>
        </p:sp>
      </p:grpSp>
      <p:sp>
        <p:nvSpPr>
          <p:cNvPr id="18" name="文本框 3"/>
          <p:cNvSpPr txBox="1"/>
          <p:nvPr/>
        </p:nvSpPr>
        <p:spPr>
          <a:xfrm>
            <a:off x="6140368" y="191564"/>
            <a:ext cx="2314995" cy="544765"/>
          </a:xfrm>
          <a:prstGeom prst="rect">
            <a:avLst/>
          </a:prstGeom>
          <a:noFill/>
          <a:effectLst/>
        </p:spPr>
        <p:txBody>
          <a:bodyPr wrap="square" rtlCol="0">
            <a:spAutoFit/>
          </a:bodyPr>
          <a:lstStyle/>
          <a:p>
            <a:pPr algn="r"/>
            <a:r>
              <a:rPr lang="zh-CN" altLang="en-US" sz="2940" dirty="0">
                <a:solidFill>
                  <a:srgbClr val="206DC1"/>
                </a:solidFill>
                <a:latin typeface="微软雅黑" panose="020B0503020204020204" pitchFamily="34" charset="-122"/>
                <a:ea typeface="微软雅黑" panose="020B0503020204020204" pitchFamily="34" charset="-122"/>
              </a:rPr>
              <a:t>目录</a:t>
            </a:r>
          </a:p>
        </p:txBody>
      </p:sp>
      <p:sp>
        <p:nvSpPr>
          <p:cNvPr id="19" name="矩形 18"/>
          <p:cNvSpPr/>
          <p:nvPr/>
        </p:nvSpPr>
        <p:spPr>
          <a:xfrm>
            <a:off x="7055622" y="667867"/>
            <a:ext cx="1399742" cy="363818"/>
          </a:xfrm>
          <a:prstGeom prst="rect">
            <a:avLst/>
          </a:prstGeom>
          <a:noFill/>
        </p:spPr>
        <p:txBody>
          <a:bodyPr wrap="none">
            <a:spAutoFit/>
          </a:bodyPr>
          <a:lstStyle/>
          <a:p>
            <a:pPr lvl="0" algn="r"/>
            <a:r>
              <a:rPr lang="en-US" altLang="zh-CN" sz="1765" dirty="0">
                <a:solidFill>
                  <a:srgbClr val="206DC1"/>
                </a:solidFill>
                <a:latin typeface="微软雅黑" panose="020B0503020204020204" pitchFamily="34" charset="-122"/>
                <a:ea typeface="微软雅黑" panose="020B0503020204020204" pitchFamily="34" charset="-122"/>
                <a:sym typeface="Arial" panose="020B0604020202020204" pitchFamily="34" charset="0"/>
              </a:rPr>
              <a:t>CONTENTS</a:t>
            </a:r>
          </a:p>
        </p:txBody>
      </p:sp>
      <p:sp>
        <p:nvSpPr>
          <p:cNvPr id="24" name="矩形 23"/>
          <p:cNvSpPr/>
          <p:nvPr/>
        </p:nvSpPr>
        <p:spPr>
          <a:xfrm flipH="1">
            <a:off x="4688382"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5" name="矩形 24"/>
          <p:cNvSpPr/>
          <p:nvPr/>
        </p:nvSpPr>
        <p:spPr>
          <a:xfrm flipH="1">
            <a:off x="5934621"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6" name="矩形 25"/>
          <p:cNvSpPr/>
          <p:nvPr/>
        </p:nvSpPr>
        <p:spPr>
          <a:xfrm flipH="1">
            <a:off x="7269350"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7"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Tm="7842"/>
    </mc:Choice>
    <mc:Fallback xmlns="">
      <p:transition spd="slow" advTm="78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55" presetClass="entr" presetSubtype="0" fill="hold" grpId="0" nodeType="afterEffect">
                                  <p:stCondLst>
                                    <p:cond delay="0"/>
                                  </p:stCondLst>
                                  <p:iterate type="lt">
                                    <p:tmPct val="0"/>
                                  </p:iterate>
                                  <p:childTnLst>
                                    <p:set>
                                      <p:cBhvr>
                                        <p:cTn id="11" dur="1" fill="hold">
                                          <p:stCondLst>
                                            <p:cond delay="0"/>
                                          </p:stCondLst>
                                        </p:cTn>
                                        <p:tgtEl>
                                          <p:spTgt spid="19"/>
                                        </p:tgtEl>
                                        <p:attrNameLst>
                                          <p:attrName>style.visibility</p:attrName>
                                        </p:attrNameLst>
                                      </p:cBhvr>
                                      <p:to>
                                        <p:strVal val="visible"/>
                                      </p:to>
                                    </p:set>
                                    <p:anim calcmode="lin" valueType="num">
                                      <p:cBhvr>
                                        <p:cTn id="12" dur="500" fill="hold"/>
                                        <p:tgtEl>
                                          <p:spTgt spid="19"/>
                                        </p:tgtEl>
                                        <p:attrNameLst>
                                          <p:attrName>ppt_w</p:attrName>
                                        </p:attrNameLst>
                                      </p:cBhvr>
                                      <p:tavLst>
                                        <p:tav tm="0">
                                          <p:val>
                                            <p:strVal val="#ppt_w*0.70"/>
                                          </p:val>
                                        </p:tav>
                                        <p:tav tm="100000">
                                          <p:val>
                                            <p:strVal val="#ppt_w"/>
                                          </p:val>
                                        </p:tav>
                                      </p:tavLst>
                                    </p:anim>
                                    <p:anim calcmode="lin" valueType="num">
                                      <p:cBhvr>
                                        <p:cTn id="13" dur="500" fill="hold"/>
                                        <p:tgtEl>
                                          <p:spTgt spid="19"/>
                                        </p:tgtEl>
                                        <p:attrNameLst>
                                          <p:attrName>ppt_h</p:attrName>
                                        </p:attrNameLst>
                                      </p:cBhvr>
                                      <p:tavLst>
                                        <p:tav tm="0">
                                          <p:val>
                                            <p:strVal val="#ppt_h"/>
                                          </p:val>
                                        </p:tav>
                                        <p:tav tm="100000">
                                          <p:val>
                                            <p:strVal val="#ppt_h"/>
                                          </p:val>
                                        </p:tav>
                                      </p:tavLst>
                                    </p:anim>
                                    <p:animEffect transition="in" filter="fade">
                                      <p:cBhvr>
                                        <p:cTn id="14" dur="500"/>
                                        <p:tgtEl>
                                          <p:spTgt spid="19"/>
                                        </p:tgtEl>
                                      </p:cBhvr>
                                    </p:animEffect>
                                  </p:childTnLst>
                                </p:cTn>
                              </p:par>
                            </p:childTnLst>
                          </p:cTn>
                        </p:par>
                        <p:par>
                          <p:cTn id="15" fill="hold">
                            <p:stCondLst>
                              <p:cond delay="1250"/>
                            </p:stCondLst>
                            <p:childTnLst>
                              <p:par>
                                <p:cTn id="16" presetID="49" presetClass="entr" presetSubtype="0" decel="10000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p:cTn id="18" dur="1000" fill="hold"/>
                                        <p:tgtEl>
                                          <p:spTgt spid="6"/>
                                        </p:tgtEl>
                                        <p:attrNameLst>
                                          <p:attrName>ppt_w</p:attrName>
                                        </p:attrNameLst>
                                      </p:cBhvr>
                                      <p:tavLst>
                                        <p:tav tm="0">
                                          <p:val>
                                            <p:fltVal val="0"/>
                                          </p:val>
                                        </p:tav>
                                        <p:tav tm="100000">
                                          <p:val>
                                            <p:strVal val="#ppt_w"/>
                                          </p:val>
                                        </p:tav>
                                      </p:tavLst>
                                    </p:anim>
                                    <p:anim calcmode="lin" valueType="num">
                                      <p:cBhvr>
                                        <p:cTn id="19" dur="1000" fill="hold"/>
                                        <p:tgtEl>
                                          <p:spTgt spid="6"/>
                                        </p:tgtEl>
                                        <p:attrNameLst>
                                          <p:attrName>ppt_h</p:attrName>
                                        </p:attrNameLst>
                                      </p:cBhvr>
                                      <p:tavLst>
                                        <p:tav tm="0">
                                          <p:val>
                                            <p:fltVal val="0"/>
                                          </p:val>
                                        </p:tav>
                                        <p:tav tm="100000">
                                          <p:val>
                                            <p:strVal val="#ppt_h"/>
                                          </p:val>
                                        </p:tav>
                                      </p:tavLst>
                                    </p:anim>
                                    <p:anim calcmode="lin" valueType="num">
                                      <p:cBhvr>
                                        <p:cTn id="20" dur="1000" fill="hold"/>
                                        <p:tgtEl>
                                          <p:spTgt spid="6"/>
                                        </p:tgtEl>
                                        <p:attrNameLst>
                                          <p:attrName>style.rotation</p:attrName>
                                        </p:attrNameLst>
                                      </p:cBhvr>
                                      <p:tavLst>
                                        <p:tav tm="0">
                                          <p:val>
                                            <p:fltVal val="360"/>
                                          </p:val>
                                        </p:tav>
                                        <p:tav tm="100000">
                                          <p:val>
                                            <p:fltVal val="0"/>
                                          </p:val>
                                        </p:tav>
                                      </p:tavLst>
                                    </p:anim>
                                    <p:animEffect transition="in" filter="fade">
                                      <p:cBhvr>
                                        <p:cTn id="21" dur="1000"/>
                                        <p:tgtEl>
                                          <p:spTgt spid="6"/>
                                        </p:tgtEl>
                                      </p:cBhvr>
                                    </p:animEffect>
                                  </p:childTnLst>
                                </p:cTn>
                              </p:par>
                              <p:par>
                                <p:cTn id="22" presetID="2" presetClass="entr" presetSubtype="2" fill="hold" grpId="0" nodeType="withEffect">
                                  <p:stCondLst>
                                    <p:cond delay="0"/>
                                  </p:stCondLst>
                                  <p:iterate type="lt">
                                    <p:tmPct val="10000"/>
                                  </p:iterate>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1+#ppt_w/2"/>
                                          </p:val>
                                        </p:tav>
                                        <p:tav tm="100000">
                                          <p:val>
                                            <p:strVal val="#ppt_x"/>
                                          </p:val>
                                        </p:tav>
                                      </p:tavLst>
                                    </p:anim>
                                    <p:anim calcmode="lin" valueType="num">
                                      <p:cBhvr additive="base">
                                        <p:cTn id="25" dur="500" fill="hold"/>
                                        <p:tgtEl>
                                          <p:spTgt spid="2"/>
                                        </p:tgtEl>
                                        <p:attrNameLst>
                                          <p:attrName>ppt_y</p:attrName>
                                        </p:attrNameLst>
                                      </p:cBhvr>
                                      <p:tavLst>
                                        <p:tav tm="0">
                                          <p:val>
                                            <p:strVal val="#ppt_y"/>
                                          </p:val>
                                        </p:tav>
                                        <p:tav tm="100000">
                                          <p:val>
                                            <p:strVal val="#ppt_y"/>
                                          </p:val>
                                        </p:tav>
                                      </p:tavLst>
                                    </p:anim>
                                  </p:childTnLst>
                                </p:cTn>
                              </p:par>
                            </p:childTnLst>
                          </p:cTn>
                        </p:par>
                        <p:par>
                          <p:cTn id="26" fill="hold">
                            <p:stCondLst>
                              <p:cond delay="2250"/>
                            </p:stCondLst>
                            <p:childTnLst>
                              <p:par>
                                <p:cTn id="27" presetID="49" presetClass="entr" presetSubtype="0" decel="100000" fill="hold" nodeType="after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p:cTn id="29" dur="1000" fill="hold"/>
                                        <p:tgtEl>
                                          <p:spTgt spid="9"/>
                                        </p:tgtEl>
                                        <p:attrNameLst>
                                          <p:attrName>ppt_w</p:attrName>
                                        </p:attrNameLst>
                                      </p:cBhvr>
                                      <p:tavLst>
                                        <p:tav tm="0">
                                          <p:val>
                                            <p:fltVal val="0"/>
                                          </p:val>
                                        </p:tav>
                                        <p:tav tm="100000">
                                          <p:val>
                                            <p:strVal val="#ppt_w"/>
                                          </p:val>
                                        </p:tav>
                                      </p:tavLst>
                                    </p:anim>
                                    <p:anim calcmode="lin" valueType="num">
                                      <p:cBhvr>
                                        <p:cTn id="30" dur="1000" fill="hold"/>
                                        <p:tgtEl>
                                          <p:spTgt spid="9"/>
                                        </p:tgtEl>
                                        <p:attrNameLst>
                                          <p:attrName>ppt_h</p:attrName>
                                        </p:attrNameLst>
                                      </p:cBhvr>
                                      <p:tavLst>
                                        <p:tav tm="0">
                                          <p:val>
                                            <p:fltVal val="0"/>
                                          </p:val>
                                        </p:tav>
                                        <p:tav tm="100000">
                                          <p:val>
                                            <p:strVal val="#ppt_h"/>
                                          </p:val>
                                        </p:tav>
                                      </p:tavLst>
                                    </p:anim>
                                    <p:anim calcmode="lin" valueType="num">
                                      <p:cBhvr>
                                        <p:cTn id="31" dur="1000" fill="hold"/>
                                        <p:tgtEl>
                                          <p:spTgt spid="9"/>
                                        </p:tgtEl>
                                        <p:attrNameLst>
                                          <p:attrName>style.rotation</p:attrName>
                                        </p:attrNameLst>
                                      </p:cBhvr>
                                      <p:tavLst>
                                        <p:tav tm="0">
                                          <p:val>
                                            <p:fltVal val="360"/>
                                          </p:val>
                                        </p:tav>
                                        <p:tav tm="100000">
                                          <p:val>
                                            <p:fltVal val="0"/>
                                          </p:val>
                                        </p:tav>
                                      </p:tavLst>
                                    </p:anim>
                                    <p:animEffect transition="in" filter="fade">
                                      <p:cBhvr>
                                        <p:cTn id="32" dur="1000"/>
                                        <p:tgtEl>
                                          <p:spTgt spid="9"/>
                                        </p:tgtEl>
                                      </p:cBhvr>
                                    </p:animEffect>
                                  </p:childTnLst>
                                </p:cTn>
                              </p:par>
                            </p:childTnLst>
                          </p:cTn>
                        </p:par>
                        <p:par>
                          <p:cTn id="33" fill="hold">
                            <p:stCondLst>
                              <p:cond delay="3250"/>
                            </p:stCondLst>
                            <p:childTnLst>
                              <p:par>
                                <p:cTn id="34" presetID="49" presetClass="entr" presetSubtype="0" decel="100000" fill="hold" nodeType="afterEffect">
                                  <p:stCondLst>
                                    <p:cond delay="0"/>
                                  </p:stCondLst>
                                  <p:childTnLst>
                                    <p:set>
                                      <p:cBhvr>
                                        <p:cTn id="35" dur="1" fill="hold">
                                          <p:stCondLst>
                                            <p:cond delay="0"/>
                                          </p:stCondLst>
                                        </p:cTn>
                                        <p:tgtEl>
                                          <p:spTgt spid="12"/>
                                        </p:tgtEl>
                                        <p:attrNameLst>
                                          <p:attrName>style.visibility</p:attrName>
                                        </p:attrNameLst>
                                      </p:cBhvr>
                                      <p:to>
                                        <p:strVal val="visible"/>
                                      </p:to>
                                    </p:set>
                                    <p:anim calcmode="lin" valueType="num">
                                      <p:cBhvr>
                                        <p:cTn id="36" dur="1000" fill="hold"/>
                                        <p:tgtEl>
                                          <p:spTgt spid="12"/>
                                        </p:tgtEl>
                                        <p:attrNameLst>
                                          <p:attrName>ppt_w</p:attrName>
                                        </p:attrNameLst>
                                      </p:cBhvr>
                                      <p:tavLst>
                                        <p:tav tm="0">
                                          <p:val>
                                            <p:fltVal val="0"/>
                                          </p:val>
                                        </p:tav>
                                        <p:tav tm="100000">
                                          <p:val>
                                            <p:strVal val="#ppt_w"/>
                                          </p:val>
                                        </p:tav>
                                      </p:tavLst>
                                    </p:anim>
                                    <p:anim calcmode="lin" valueType="num">
                                      <p:cBhvr>
                                        <p:cTn id="37" dur="1000" fill="hold"/>
                                        <p:tgtEl>
                                          <p:spTgt spid="12"/>
                                        </p:tgtEl>
                                        <p:attrNameLst>
                                          <p:attrName>ppt_h</p:attrName>
                                        </p:attrNameLst>
                                      </p:cBhvr>
                                      <p:tavLst>
                                        <p:tav tm="0">
                                          <p:val>
                                            <p:fltVal val="0"/>
                                          </p:val>
                                        </p:tav>
                                        <p:tav tm="100000">
                                          <p:val>
                                            <p:strVal val="#ppt_h"/>
                                          </p:val>
                                        </p:tav>
                                      </p:tavLst>
                                    </p:anim>
                                    <p:anim calcmode="lin" valueType="num">
                                      <p:cBhvr>
                                        <p:cTn id="38" dur="1000" fill="hold"/>
                                        <p:tgtEl>
                                          <p:spTgt spid="12"/>
                                        </p:tgtEl>
                                        <p:attrNameLst>
                                          <p:attrName>style.rotation</p:attrName>
                                        </p:attrNameLst>
                                      </p:cBhvr>
                                      <p:tavLst>
                                        <p:tav tm="0">
                                          <p:val>
                                            <p:fltVal val="360"/>
                                          </p:val>
                                        </p:tav>
                                        <p:tav tm="100000">
                                          <p:val>
                                            <p:fltVal val="0"/>
                                          </p:val>
                                        </p:tav>
                                      </p:tavLst>
                                    </p:anim>
                                    <p:animEffect transition="in" filter="fade">
                                      <p:cBhvr>
                                        <p:cTn id="39" dur="1000"/>
                                        <p:tgtEl>
                                          <p:spTgt spid="12"/>
                                        </p:tgtEl>
                                      </p:cBhvr>
                                    </p:animEffect>
                                  </p:childTnLst>
                                </p:cTn>
                              </p:par>
                            </p:childTnLst>
                          </p:cTn>
                        </p:par>
                        <p:par>
                          <p:cTn id="40" fill="hold">
                            <p:stCondLst>
                              <p:cond delay="4250"/>
                            </p:stCondLst>
                            <p:childTnLst>
                              <p:par>
                                <p:cTn id="41" presetID="49" presetClass="entr" presetSubtype="0" decel="100000"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p:cTn id="43" dur="1000" fill="hold"/>
                                        <p:tgtEl>
                                          <p:spTgt spid="15"/>
                                        </p:tgtEl>
                                        <p:attrNameLst>
                                          <p:attrName>ppt_w</p:attrName>
                                        </p:attrNameLst>
                                      </p:cBhvr>
                                      <p:tavLst>
                                        <p:tav tm="0">
                                          <p:val>
                                            <p:fltVal val="0"/>
                                          </p:val>
                                        </p:tav>
                                        <p:tav tm="100000">
                                          <p:val>
                                            <p:strVal val="#ppt_w"/>
                                          </p:val>
                                        </p:tav>
                                      </p:tavLst>
                                    </p:anim>
                                    <p:anim calcmode="lin" valueType="num">
                                      <p:cBhvr>
                                        <p:cTn id="44" dur="1000" fill="hold"/>
                                        <p:tgtEl>
                                          <p:spTgt spid="15"/>
                                        </p:tgtEl>
                                        <p:attrNameLst>
                                          <p:attrName>ppt_h</p:attrName>
                                        </p:attrNameLst>
                                      </p:cBhvr>
                                      <p:tavLst>
                                        <p:tav tm="0">
                                          <p:val>
                                            <p:fltVal val="0"/>
                                          </p:val>
                                        </p:tav>
                                        <p:tav tm="100000">
                                          <p:val>
                                            <p:strVal val="#ppt_h"/>
                                          </p:val>
                                        </p:tav>
                                      </p:tavLst>
                                    </p:anim>
                                    <p:anim calcmode="lin" valueType="num">
                                      <p:cBhvr>
                                        <p:cTn id="45" dur="1000" fill="hold"/>
                                        <p:tgtEl>
                                          <p:spTgt spid="15"/>
                                        </p:tgtEl>
                                        <p:attrNameLst>
                                          <p:attrName>style.rotation</p:attrName>
                                        </p:attrNameLst>
                                      </p:cBhvr>
                                      <p:tavLst>
                                        <p:tav tm="0">
                                          <p:val>
                                            <p:fltVal val="360"/>
                                          </p:val>
                                        </p:tav>
                                        <p:tav tm="100000">
                                          <p:val>
                                            <p:fltVal val="0"/>
                                          </p:val>
                                        </p:tav>
                                      </p:tavLst>
                                    </p:anim>
                                    <p:animEffect transition="in" filter="fade">
                                      <p:cBhvr>
                                        <p:cTn id="46" dur="1000"/>
                                        <p:tgtEl>
                                          <p:spTgt spid="15"/>
                                        </p:tgtEl>
                                      </p:cBhvr>
                                    </p:animEffect>
                                  </p:childTnLst>
                                </p:cTn>
                              </p:par>
                              <p:par>
                                <p:cTn id="47" presetID="2" presetClass="entr" presetSubtype="2" fill="hold" grpId="0" nodeType="withEffect">
                                  <p:stCondLst>
                                    <p:cond delay="0"/>
                                  </p:stCondLst>
                                  <p:iterate type="lt">
                                    <p:tmPct val="10000"/>
                                  </p:iterate>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1+#ppt_w/2"/>
                                          </p:val>
                                        </p:tav>
                                        <p:tav tm="100000">
                                          <p:val>
                                            <p:strVal val="#ppt_x"/>
                                          </p:val>
                                        </p:tav>
                                      </p:tavLst>
                                    </p:anim>
                                    <p:anim calcmode="lin" valueType="num">
                                      <p:cBhvr additive="base">
                                        <p:cTn id="50" dur="500" fill="hold"/>
                                        <p:tgtEl>
                                          <p:spTgt spid="24"/>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iterate type="lt">
                                    <p:tmPct val="10000"/>
                                  </p:iterate>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500" fill="hold"/>
                                        <p:tgtEl>
                                          <p:spTgt spid="25"/>
                                        </p:tgtEl>
                                        <p:attrNameLst>
                                          <p:attrName>ppt_x</p:attrName>
                                        </p:attrNameLst>
                                      </p:cBhvr>
                                      <p:tavLst>
                                        <p:tav tm="0">
                                          <p:val>
                                            <p:strVal val="1+#ppt_w/2"/>
                                          </p:val>
                                        </p:tav>
                                        <p:tav tm="100000">
                                          <p:val>
                                            <p:strVal val="#ppt_x"/>
                                          </p:val>
                                        </p:tav>
                                      </p:tavLst>
                                    </p:anim>
                                    <p:anim calcmode="lin" valueType="num">
                                      <p:cBhvr additive="base">
                                        <p:cTn id="54" dur="500" fill="hold"/>
                                        <p:tgtEl>
                                          <p:spTgt spid="25"/>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0"/>
                                  </p:stCondLst>
                                  <p:iterate type="lt">
                                    <p:tmPct val="10000"/>
                                  </p:iterate>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1+#ppt_w/2"/>
                                          </p:val>
                                        </p:tav>
                                        <p:tav tm="100000">
                                          <p:val>
                                            <p:strVal val="#ppt_x"/>
                                          </p:val>
                                        </p:tav>
                                      </p:tavLst>
                                    </p:anim>
                                    <p:anim calcmode="lin" valueType="num">
                                      <p:cBhvr additive="base">
                                        <p:cTn id="58"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8" grpId="0"/>
      <p:bldP spid="19" grpId="0"/>
      <p:bldP spid="24" grpId="0"/>
      <p:bldP spid="25" grpId="0"/>
      <p:bldP spid="26"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17" name="矩形 16"/>
          <p:cNvSpPr/>
          <p:nvPr/>
        </p:nvSpPr>
        <p:spPr>
          <a:xfrm>
            <a:off x="3870960" y="3484880"/>
            <a:ext cx="3413760" cy="345440"/>
          </a:xfrm>
          <a:prstGeom prst="rect">
            <a:avLst/>
          </a:prstGeom>
          <a:solidFill>
            <a:srgbClr val="206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PA_文本框 11"/>
          <p:cNvSpPr txBox="1"/>
          <p:nvPr>
            <p:custDataLst>
              <p:tags r:id="rId2"/>
            </p:custDataLst>
          </p:nvPr>
        </p:nvSpPr>
        <p:spPr>
          <a:xfrm flipH="1">
            <a:off x="3594394" y="1934051"/>
            <a:ext cx="4081486" cy="1723549"/>
          </a:xfrm>
          <a:prstGeom prst="rect">
            <a:avLst/>
          </a:prstGeom>
          <a:noFill/>
        </p:spPr>
        <p:txBody>
          <a:bodyPr wrap="square" rtlCol="0">
            <a:spAutoFit/>
          </a:bodyPr>
          <a:lstStyle/>
          <a:p>
            <a:r>
              <a:rPr lang="zh-CN" altLang="en-US" sz="6600" spc="600" dirty="0">
                <a:solidFill>
                  <a:srgbClr val="244494"/>
                </a:solidFill>
                <a:latin typeface="微软雅黑" panose="020B0503020204020204" pitchFamily="34" charset="-122"/>
                <a:ea typeface="微软雅黑" panose="020B0503020204020204" pitchFamily="34" charset="-122"/>
                <a:cs typeface="Kartika" panose="02020503030404060203" pitchFamily="18" charset="0"/>
              </a:rPr>
              <a:t>谢谢观看</a:t>
            </a:r>
            <a:endParaRPr lang="en-US" altLang="zh-CN" sz="6600" spc="600" dirty="0">
              <a:solidFill>
                <a:srgbClr val="244494"/>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3600" spc="600" dirty="0">
              <a:solidFill>
                <a:schemeClr val="bg1"/>
              </a:solidFill>
              <a:latin typeface="微软雅黑" panose="020B0503020204020204" pitchFamily="34" charset="-122"/>
              <a:ea typeface="微软雅黑" panose="020B0503020204020204" pitchFamily="34" charset="-122"/>
            </a:endParaRPr>
          </a:p>
        </p:txBody>
      </p:sp>
      <p:sp>
        <p:nvSpPr>
          <p:cNvPr id="15" name="PA_文本框 11"/>
          <p:cNvSpPr txBox="1"/>
          <p:nvPr>
            <p:custDataLst>
              <p:tags r:id="rId3"/>
            </p:custDataLst>
          </p:nvPr>
        </p:nvSpPr>
        <p:spPr>
          <a:xfrm flipH="1">
            <a:off x="3931065" y="3480541"/>
            <a:ext cx="3252055" cy="475615"/>
          </a:xfrm>
          <a:prstGeom prst="rect">
            <a:avLst/>
          </a:prstGeom>
          <a:noFill/>
        </p:spPr>
        <p:txBody>
          <a:bodyPr wrap="square" rtlCol="0">
            <a:spAutoFit/>
          </a:bodyPr>
          <a:lstStyle/>
          <a:p>
            <a:r>
              <a:rPr lang="zh-CN" altLang="en-US" sz="1600">
                <a:solidFill>
                  <a:schemeClr val="bg1"/>
                </a:solidFill>
                <a:latin typeface="微软雅黑" panose="020B0503020204020204" pitchFamily="34" charset="-122"/>
                <a:ea typeface="微软雅黑" panose="020B0503020204020204" pitchFamily="34" charset="-122"/>
                <a:cs typeface="Kartika" panose="02020503030404060203" pitchFamily="18" charset="0"/>
              </a:rPr>
              <a:t>汇报人：</a:t>
            </a:r>
            <a:r>
              <a:rPr lang="en-US" altLang="zh-CN" sz="1600">
                <a:solidFill>
                  <a:schemeClr val="bg1"/>
                </a:solidFill>
                <a:latin typeface="微软雅黑" panose="020B0503020204020204" pitchFamily="34" charset="-122"/>
                <a:ea typeface="微软雅黑" panose="020B0503020204020204" pitchFamily="34" charset="-122"/>
                <a:cs typeface="Kartika" panose="02020503030404060203" pitchFamily="18" charset="0"/>
              </a:rPr>
              <a:t>xiazaii  </a:t>
            </a:r>
            <a:r>
              <a:rPr lang="zh-CN" altLang="en-US" sz="1600">
                <a:solidFill>
                  <a:schemeClr val="bg1"/>
                </a:solidFill>
                <a:latin typeface="微软雅黑" panose="020B0503020204020204" pitchFamily="34" charset="-122"/>
                <a:ea typeface="微软雅黑" panose="020B0503020204020204" pitchFamily="34" charset="-122"/>
                <a:cs typeface="Kartika" panose="02020503030404060203" pitchFamily="18" charset="0"/>
              </a:rPr>
              <a:t>部门：设计部</a:t>
            </a:r>
          </a:p>
          <a:p>
            <a:endParaRPr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6" name="PA_文本框 11"/>
          <p:cNvSpPr txBox="1"/>
          <p:nvPr>
            <p:custDataLst>
              <p:tags r:id="rId4"/>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938">
        <p15:prstTrans prst="pageCurlDouble"/>
      </p:transition>
    </mc:Choice>
    <mc:Fallback xmlns="">
      <p:transition spd="slow" advClick="0" advTm="593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strVal val="#ppt_w+.3"/>
                                          </p:val>
                                        </p:tav>
                                        <p:tav tm="100000">
                                          <p:val>
                                            <p:strVal val="#ppt_w"/>
                                          </p:val>
                                        </p:tav>
                                      </p:tavLst>
                                    </p:anim>
                                    <p:anim calcmode="lin" valueType="num">
                                      <p:cBhvr>
                                        <p:cTn id="8" dur="1000" fill="hold"/>
                                        <p:tgtEl>
                                          <p:spTgt spid="14"/>
                                        </p:tgtEl>
                                        <p:attrNameLst>
                                          <p:attrName>ppt_h</p:attrName>
                                        </p:attrNameLst>
                                      </p:cBhvr>
                                      <p:tavLst>
                                        <p:tav tm="0">
                                          <p:val>
                                            <p:strVal val="#ppt_h"/>
                                          </p:val>
                                        </p:tav>
                                        <p:tav tm="100000">
                                          <p:val>
                                            <p:strVal val="#ppt_h"/>
                                          </p:val>
                                        </p:tav>
                                      </p:tavLst>
                                    </p:anim>
                                    <p:animEffect transition="in" filter="fade">
                                      <p:cBhvr>
                                        <p:cTn id="9" dur="1000"/>
                                        <p:tgtEl>
                                          <p:spTgt spid="14"/>
                                        </p:tgtEl>
                                      </p:cBhvr>
                                    </p:animEffect>
                                  </p:childTnLst>
                                </p:cTn>
                              </p:par>
                            </p:childTnLst>
                          </p:cTn>
                        </p:par>
                        <p:par>
                          <p:cTn id="10" fill="hold">
                            <p:stCondLst>
                              <p:cond delay="1000"/>
                            </p:stCondLst>
                            <p:childTnLst>
                              <p:par>
                                <p:cTn id="11" presetID="50" presetClass="entr" presetSubtype="0" decel="10000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p:cTn id="13" dur="1000" fill="hold"/>
                                        <p:tgtEl>
                                          <p:spTgt spid="15"/>
                                        </p:tgtEl>
                                        <p:attrNameLst>
                                          <p:attrName>ppt_w</p:attrName>
                                        </p:attrNameLst>
                                      </p:cBhvr>
                                      <p:tavLst>
                                        <p:tav tm="0">
                                          <p:val>
                                            <p:strVal val="#ppt_w+.3"/>
                                          </p:val>
                                        </p:tav>
                                        <p:tav tm="100000">
                                          <p:val>
                                            <p:strVal val="#ppt_w"/>
                                          </p:val>
                                        </p:tav>
                                      </p:tavLst>
                                    </p:anim>
                                    <p:anim calcmode="lin" valueType="num">
                                      <p:cBhvr>
                                        <p:cTn id="14" dur="1000" fill="hold"/>
                                        <p:tgtEl>
                                          <p:spTgt spid="15"/>
                                        </p:tgtEl>
                                        <p:attrNameLst>
                                          <p:attrName>ppt_h</p:attrName>
                                        </p:attrNameLst>
                                      </p:cBhvr>
                                      <p:tavLst>
                                        <p:tav tm="0">
                                          <p:val>
                                            <p:strVal val="#ppt_h"/>
                                          </p:val>
                                        </p:tav>
                                        <p:tav tm="100000">
                                          <p:val>
                                            <p:strVal val="#ppt_h"/>
                                          </p:val>
                                        </p:tav>
                                      </p:tavLst>
                                    </p:anim>
                                    <p:animEffect transition="in" filter="fade">
                                      <p:cBhvr>
                                        <p:cTn id="15" dur="10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4"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1</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769">
        <p:blinds dir="vert"/>
      </p:transition>
    </mc:Choice>
    <mc:Fallback xmlns="">
      <p:transition spd="slow" advClick="0" advTm="5769">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淘宝网chenying0907出品 1"/>
          <p:cNvSpPr>
            <a:spLocks noChangeArrowheads="1"/>
          </p:cNvSpPr>
          <p:nvPr/>
        </p:nvSpPr>
        <p:spPr bwMode="auto">
          <a:xfrm>
            <a:off x="766106"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endParaRPr lang="zh-CN" altLang="zh-CN" sz="1200" dirty="0">
              <a:solidFill>
                <a:srgbClr val="2C53B6"/>
              </a:solidFill>
              <a:latin typeface="微软雅黑" panose="020B0503020204020204" pitchFamily="34" charset="-122"/>
              <a:ea typeface="微软雅黑" panose="020B0503020204020204" pitchFamily="34" charset="-122"/>
            </a:endParaRPr>
          </a:p>
        </p:txBody>
      </p:sp>
      <p:sp>
        <p:nvSpPr>
          <p:cNvPr id="49" name="淘宝网chenying0907出品 1"/>
          <p:cNvSpPr>
            <a:spLocks noChangeArrowheads="1"/>
          </p:cNvSpPr>
          <p:nvPr/>
        </p:nvSpPr>
        <p:spPr bwMode="auto">
          <a:xfrm>
            <a:off x="2676589"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sp>
        <p:nvSpPr>
          <p:cNvPr id="50" name="淘宝网chenying0907出品 1"/>
          <p:cNvSpPr>
            <a:spLocks noChangeArrowheads="1"/>
          </p:cNvSpPr>
          <p:nvPr/>
        </p:nvSpPr>
        <p:spPr bwMode="auto">
          <a:xfrm>
            <a:off x="4587072"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sp>
        <p:nvSpPr>
          <p:cNvPr id="51" name="淘宝网chenying0907出品 1"/>
          <p:cNvSpPr>
            <a:spLocks noChangeArrowheads="1"/>
          </p:cNvSpPr>
          <p:nvPr/>
        </p:nvSpPr>
        <p:spPr bwMode="auto">
          <a:xfrm>
            <a:off x="6497554"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anose="020B0503020204020204" pitchFamily="34" charset="-122"/>
                <a:ea typeface="微软雅黑" panose="020B0503020204020204" pitchFamily="34" charset="-122"/>
              </a:rPr>
              <a:t>在对统计信息在可视化时的基本属性进行分析与研究后，图表的定义。</a:t>
            </a:r>
          </a:p>
        </p:txBody>
      </p:sp>
      <p:grpSp>
        <p:nvGrpSpPr>
          <p:cNvPr id="52" name="淘宝网chenying0907出品 144"/>
          <p:cNvGrpSpPr/>
          <p:nvPr/>
        </p:nvGrpSpPr>
        <p:grpSpPr>
          <a:xfrm>
            <a:off x="971600" y="1589465"/>
            <a:ext cx="1440534" cy="1440534"/>
            <a:chOff x="332823" y="2499368"/>
            <a:chExt cx="1440534" cy="1440534"/>
          </a:xfrm>
        </p:grpSpPr>
        <p:sp>
          <p:nvSpPr>
            <p:cNvPr id="53" name="TextBox 145"/>
            <p:cNvSpPr txBox="1"/>
            <p:nvPr/>
          </p:nvSpPr>
          <p:spPr>
            <a:xfrm>
              <a:off x="692863" y="2988802"/>
              <a:ext cx="845103"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100%</a:t>
              </a:r>
              <a:endParaRPr lang="zh-CN" altLang="en-US" sz="2400" dirty="0">
                <a:solidFill>
                  <a:srgbClr val="2C53B6"/>
                </a:solidFill>
                <a:latin typeface="Impact" panose="020B0806030902050204" pitchFamily="34" charset="0"/>
                <a:ea typeface="微软雅黑" panose="020B0503020204020204" pitchFamily="34" charset="-122"/>
              </a:endParaRPr>
            </a:p>
          </p:txBody>
        </p:sp>
        <p:sp>
          <p:nvSpPr>
            <p:cNvPr id="54" name="同心圆 146"/>
            <p:cNvSpPr/>
            <p:nvPr/>
          </p:nvSpPr>
          <p:spPr>
            <a:xfrm>
              <a:off x="332823" y="2499368"/>
              <a:ext cx="1440534" cy="1440534"/>
            </a:xfrm>
            <a:prstGeom prst="donut">
              <a:avLst>
                <a:gd name="adj" fmla="val 8341"/>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2C53B6"/>
                </a:solidFill>
                <a:latin typeface="Calibri" panose="020F0502020204030204" pitchFamily="34" charset="0"/>
                <a:ea typeface="宋体" panose="02010600030101010101" pitchFamily="2" charset="-122"/>
              </a:endParaRPr>
            </a:p>
          </p:txBody>
        </p:sp>
      </p:grpSp>
      <p:grpSp>
        <p:nvGrpSpPr>
          <p:cNvPr id="55" name="淘宝网chenying0907出品 147"/>
          <p:cNvGrpSpPr/>
          <p:nvPr/>
        </p:nvGrpSpPr>
        <p:grpSpPr>
          <a:xfrm>
            <a:off x="2890582" y="1589465"/>
            <a:ext cx="1417638" cy="1422051"/>
            <a:chOff x="6380178" y="152238"/>
            <a:chExt cx="1417638" cy="1422051"/>
          </a:xfrm>
        </p:grpSpPr>
        <p:grpSp>
          <p:nvGrpSpPr>
            <p:cNvPr id="56" name="淘宝网chenying0907出品 148"/>
            <p:cNvGrpSpPr/>
            <p:nvPr/>
          </p:nvGrpSpPr>
          <p:grpSpPr>
            <a:xfrm>
              <a:off x="6380178" y="152238"/>
              <a:ext cx="1417638" cy="1422051"/>
              <a:chOff x="6380178" y="152238"/>
              <a:chExt cx="1417638" cy="1422051"/>
            </a:xfrm>
          </p:grpSpPr>
          <p:sp>
            <p:nvSpPr>
              <p:cNvPr id="58" name="空心弧 57"/>
              <p:cNvSpPr/>
              <p:nvPr/>
            </p:nvSpPr>
            <p:spPr>
              <a:xfrm>
                <a:off x="6380178" y="156651"/>
                <a:ext cx="1417638" cy="1417638"/>
              </a:xfrm>
              <a:prstGeom prst="blockArc">
                <a:avLst>
                  <a:gd name="adj1" fmla="val 40855"/>
                  <a:gd name="adj2" fmla="val 16279583"/>
                  <a:gd name="adj3" fmla="val 9218"/>
                </a:avLst>
              </a:pr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latin typeface="Calibri" panose="020F0502020204030204" pitchFamily="34" charset="0"/>
                  <a:ea typeface="宋体" panose="02010600030101010101" pitchFamily="2" charset="-122"/>
                </a:endParaRPr>
              </a:p>
            </p:txBody>
          </p:sp>
          <p:sp>
            <p:nvSpPr>
              <p:cNvPr id="59" name="空心弧 58"/>
              <p:cNvSpPr/>
              <p:nvPr/>
            </p:nvSpPr>
            <p:spPr>
              <a:xfrm>
                <a:off x="6380178" y="152238"/>
                <a:ext cx="1417638" cy="1417638"/>
              </a:xfrm>
              <a:prstGeom prst="blockArc">
                <a:avLst>
                  <a:gd name="adj1" fmla="val 16221849"/>
                  <a:gd name="adj2" fmla="val 76858"/>
                  <a:gd name="adj3" fmla="val 9538"/>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2C53B6"/>
                  </a:solidFill>
                </a:endParaRPr>
              </a:p>
            </p:txBody>
          </p:sp>
        </p:grpSp>
        <p:sp>
          <p:nvSpPr>
            <p:cNvPr id="57" name="TextBox 149"/>
            <p:cNvSpPr txBox="1"/>
            <p:nvPr/>
          </p:nvSpPr>
          <p:spPr>
            <a:xfrm>
              <a:off x="6754327" y="634637"/>
              <a:ext cx="683200"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75%</a:t>
              </a:r>
              <a:endParaRPr lang="zh-CN" altLang="en-US" sz="2400" dirty="0">
                <a:solidFill>
                  <a:srgbClr val="2C53B6"/>
                </a:solidFill>
                <a:latin typeface="Impact" panose="020B0806030902050204" pitchFamily="34" charset="0"/>
                <a:ea typeface="微软雅黑" panose="020B0503020204020204" pitchFamily="34" charset="-122"/>
              </a:endParaRPr>
            </a:p>
          </p:txBody>
        </p:sp>
      </p:grpSp>
      <p:grpSp>
        <p:nvGrpSpPr>
          <p:cNvPr id="60" name="淘宝网chenying0907出品 152"/>
          <p:cNvGrpSpPr/>
          <p:nvPr/>
        </p:nvGrpSpPr>
        <p:grpSpPr>
          <a:xfrm>
            <a:off x="4786668" y="1589465"/>
            <a:ext cx="1417638" cy="1422052"/>
            <a:chOff x="6380178" y="152237"/>
            <a:chExt cx="1417638" cy="1422052"/>
          </a:xfrm>
        </p:grpSpPr>
        <p:grpSp>
          <p:nvGrpSpPr>
            <p:cNvPr id="61" name="淘宝网chenying0907出品 153"/>
            <p:cNvGrpSpPr/>
            <p:nvPr/>
          </p:nvGrpSpPr>
          <p:grpSpPr>
            <a:xfrm>
              <a:off x="6380178" y="152237"/>
              <a:ext cx="1417638" cy="1422052"/>
              <a:chOff x="6380178" y="152237"/>
              <a:chExt cx="1417638" cy="1422052"/>
            </a:xfrm>
          </p:grpSpPr>
          <p:sp>
            <p:nvSpPr>
              <p:cNvPr id="63" name="空心弧 62"/>
              <p:cNvSpPr/>
              <p:nvPr/>
            </p:nvSpPr>
            <p:spPr>
              <a:xfrm>
                <a:off x="6380178" y="156651"/>
                <a:ext cx="1417638" cy="1417638"/>
              </a:xfrm>
              <a:prstGeom prst="blockArc">
                <a:avLst>
                  <a:gd name="adj1" fmla="val 5377950"/>
                  <a:gd name="adj2" fmla="val 16232035"/>
                  <a:gd name="adj3" fmla="val 9040"/>
                </a:avLst>
              </a:pr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latin typeface="Calibri" panose="020F0502020204030204" pitchFamily="34" charset="0"/>
                  <a:ea typeface="宋体" panose="02010600030101010101" pitchFamily="2" charset="-122"/>
                </a:endParaRPr>
              </a:p>
            </p:txBody>
          </p:sp>
          <p:sp>
            <p:nvSpPr>
              <p:cNvPr id="64" name="空心弧 63"/>
              <p:cNvSpPr/>
              <p:nvPr/>
            </p:nvSpPr>
            <p:spPr>
              <a:xfrm>
                <a:off x="6380178" y="152237"/>
                <a:ext cx="1417638" cy="1422051"/>
              </a:xfrm>
              <a:prstGeom prst="blockArc">
                <a:avLst>
                  <a:gd name="adj1" fmla="val 16221849"/>
                  <a:gd name="adj2" fmla="val 5388303"/>
                  <a:gd name="adj3" fmla="val 9344"/>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rgbClr val="2C53B6"/>
                  </a:solidFill>
                </a:endParaRPr>
              </a:p>
            </p:txBody>
          </p:sp>
        </p:grpSp>
        <p:sp>
          <p:nvSpPr>
            <p:cNvPr id="62" name="TextBox 154"/>
            <p:cNvSpPr txBox="1"/>
            <p:nvPr/>
          </p:nvSpPr>
          <p:spPr>
            <a:xfrm>
              <a:off x="6759134" y="634637"/>
              <a:ext cx="750526"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50%</a:t>
              </a:r>
              <a:endParaRPr lang="zh-CN" altLang="en-US" sz="2400" dirty="0">
                <a:solidFill>
                  <a:srgbClr val="2C53B6"/>
                </a:solidFill>
                <a:latin typeface="Impact" panose="020B0806030902050204" pitchFamily="34" charset="0"/>
                <a:ea typeface="微软雅黑" panose="020B0503020204020204" pitchFamily="34" charset="-122"/>
              </a:endParaRPr>
            </a:p>
          </p:txBody>
        </p:sp>
      </p:grpSp>
      <p:grpSp>
        <p:nvGrpSpPr>
          <p:cNvPr id="65" name="淘宝网chenying0907出品 157"/>
          <p:cNvGrpSpPr/>
          <p:nvPr/>
        </p:nvGrpSpPr>
        <p:grpSpPr>
          <a:xfrm>
            <a:off x="6682754" y="1589465"/>
            <a:ext cx="1417638" cy="1422052"/>
            <a:chOff x="6380178" y="152237"/>
            <a:chExt cx="1417638" cy="1422052"/>
          </a:xfrm>
        </p:grpSpPr>
        <p:grpSp>
          <p:nvGrpSpPr>
            <p:cNvPr id="66" name="淘宝网chenying0907出品 158"/>
            <p:cNvGrpSpPr/>
            <p:nvPr/>
          </p:nvGrpSpPr>
          <p:grpSpPr>
            <a:xfrm>
              <a:off x="6380178" y="152237"/>
              <a:ext cx="1417638" cy="1422052"/>
              <a:chOff x="6380178" y="152237"/>
              <a:chExt cx="1417638" cy="1422052"/>
            </a:xfrm>
          </p:grpSpPr>
          <p:sp>
            <p:nvSpPr>
              <p:cNvPr id="68" name="空心弧 67"/>
              <p:cNvSpPr/>
              <p:nvPr/>
            </p:nvSpPr>
            <p:spPr>
              <a:xfrm>
                <a:off x="6380178" y="156651"/>
                <a:ext cx="1417638" cy="1417638"/>
              </a:xfrm>
              <a:prstGeom prst="blockArc">
                <a:avLst>
                  <a:gd name="adj1" fmla="val 5377950"/>
                  <a:gd name="adj2" fmla="val 16232035"/>
                  <a:gd name="adj3" fmla="val 9040"/>
                </a:avLst>
              </a:prstGeom>
              <a:solidFill>
                <a:srgbClr val="2C53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latin typeface="Calibri" panose="020F0502020204030204" pitchFamily="34" charset="0"/>
                  <a:ea typeface="宋体" panose="02010600030101010101" pitchFamily="2" charset="-122"/>
                </a:endParaRPr>
              </a:p>
            </p:txBody>
          </p:sp>
          <p:sp>
            <p:nvSpPr>
              <p:cNvPr id="69" name="空心弧 68"/>
              <p:cNvSpPr/>
              <p:nvPr/>
            </p:nvSpPr>
            <p:spPr>
              <a:xfrm>
                <a:off x="6380178" y="152237"/>
                <a:ext cx="1417638" cy="1422051"/>
              </a:xfrm>
              <a:prstGeom prst="blockArc">
                <a:avLst>
                  <a:gd name="adj1" fmla="val 16221849"/>
                  <a:gd name="adj2" fmla="val 10814646"/>
                  <a:gd name="adj3" fmla="val 9309"/>
                </a:avLst>
              </a:prstGeom>
              <a:solidFill>
                <a:srgbClr val="206D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dirty="0">
                  <a:solidFill>
                    <a:srgbClr val="2C53B6"/>
                  </a:solidFill>
                </a:endParaRPr>
              </a:p>
            </p:txBody>
          </p:sp>
        </p:grpSp>
        <p:sp>
          <p:nvSpPr>
            <p:cNvPr id="67" name="TextBox 159"/>
            <p:cNvSpPr txBox="1"/>
            <p:nvPr/>
          </p:nvSpPr>
          <p:spPr>
            <a:xfrm>
              <a:off x="6730565" y="634637"/>
              <a:ext cx="716863" cy="461665"/>
            </a:xfrm>
            <a:prstGeom prst="rect">
              <a:avLst/>
            </a:prstGeom>
            <a:noFill/>
          </p:spPr>
          <p:txBody>
            <a:bodyPr wrap="none" rtlCol="0">
              <a:spAutoFit/>
            </a:bodyPr>
            <a:lstStyle/>
            <a:p>
              <a:r>
                <a:rPr lang="en-US" altLang="zh-CN" sz="2400" dirty="0">
                  <a:solidFill>
                    <a:srgbClr val="2C53B6"/>
                  </a:solidFill>
                  <a:latin typeface="Impact" panose="020B0806030902050204" pitchFamily="34" charset="0"/>
                  <a:ea typeface="微软雅黑" panose="020B0503020204020204" pitchFamily="34" charset="-122"/>
                </a:rPr>
                <a:t>25%</a:t>
              </a:r>
              <a:endParaRPr lang="zh-CN" altLang="en-US" sz="2400" dirty="0">
                <a:solidFill>
                  <a:srgbClr val="2C53B6"/>
                </a:solidFill>
                <a:latin typeface="Impact" panose="020B0806030902050204" pitchFamily="34" charset="0"/>
                <a:ea typeface="微软雅黑" panose="020B0503020204020204" pitchFamily="34" charset="-122"/>
              </a:endParaRPr>
            </a:p>
          </p:txBody>
        </p:sp>
      </p:grpSp>
      <p:sp>
        <p:nvSpPr>
          <p:cNvPr id="70"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71" name="矩形 70"/>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480">
        <p15:prstTrans prst="pageCurlDouble"/>
      </p:transition>
    </mc:Choice>
    <mc:Fallback xmlns="">
      <p:transition spd="slow" advClick="0" advTm="448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heel(1)">
                                          <p:cBhvr>
                                            <p:cTn id="7" dur="500"/>
                                            <p:tgtEl>
                                              <p:spTgt spid="52"/>
                                            </p:tgtEl>
                                          </p:cBhvr>
                                        </p:animEffect>
                                      </p:childTnLst>
                                    </p:cTn>
                                  </p:par>
                                </p:childTnLst>
                              </p:cTn>
                            </p:par>
                            <p:par>
                              <p:cTn id="8" fill="hold">
                                <p:stCondLst>
                                  <p:cond delay="500"/>
                                </p:stCondLst>
                                <p:childTnLst>
                                  <p:par>
                                    <p:cTn id="9" presetID="2" presetClass="entr" presetSubtype="4" fill="hold" grpId="0" nodeType="afterEffect" p14:presetBounceEnd="73000">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14:bounceEnd="73000">
                                          <p:cBhvr additive="base">
                                            <p:cTn id="11" dur="300" fill="hold"/>
                                            <p:tgtEl>
                                              <p:spTgt spid="48"/>
                                            </p:tgtEl>
                                            <p:attrNameLst>
                                              <p:attrName>ppt_x</p:attrName>
                                            </p:attrNameLst>
                                          </p:cBhvr>
                                          <p:tavLst>
                                            <p:tav tm="0">
                                              <p:val>
                                                <p:strVal val="#ppt_x"/>
                                              </p:val>
                                            </p:tav>
                                            <p:tav tm="100000">
                                              <p:val>
                                                <p:strVal val="#ppt_x"/>
                                              </p:val>
                                            </p:tav>
                                          </p:tavLst>
                                        </p:anim>
                                        <p:anim calcmode="lin" valueType="num" p14:bounceEnd="73000">
                                          <p:cBhvr additive="base">
                                            <p:cTn id="12" dur="300" fill="hold"/>
                                            <p:tgtEl>
                                              <p:spTgt spid="48"/>
                                            </p:tgtEl>
                                            <p:attrNameLst>
                                              <p:attrName>ppt_y</p:attrName>
                                            </p:attrNameLst>
                                          </p:cBhvr>
                                          <p:tavLst>
                                            <p:tav tm="0">
                                              <p:val>
                                                <p:strVal val="1+#ppt_h/2"/>
                                              </p:val>
                                            </p:tav>
                                            <p:tav tm="100000">
                                              <p:val>
                                                <p:strVal val="#ppt_y"/>
                                              </p:val>
                                            </p:tav>
                                          </p:tavLst>
                                        </p:anim>
                                      </p:childTnLst>
                                    </p:cTn>
                                  </p:par>
                                  <p:par>
                                    <p:cTn id="13" presetID="21" presetClass="entr" presetSubtype="1"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heel(1)">
                                          <p:cBhvr>
                                            <p:cTn id="15" dur="500"/>
                                            <p:tgtEl>
                                              <p:spTgt spid="55"/>
                                            </p:tgtEl>
                                          </p:cBhvr>
                                        </p:animEffect>
                                      </p:childTnLst>
                                    </p:cTn>
                                  </p:par>
                                </p:childTnLst>
                              </p:cTn>
                            </p:par>
                            <p:par>
                              <p:cTn id="16" fill="hold">
                                <p:stCondLst>
                                  <p:cond delay="1000"/>
                                </p:stCondLst>
                                <p:childTnLst>
                                  <p:par>
                                    <p:cTn id="17" presetID="2" presetClass="entr" presetSubtype="4" fill="hold" grpId="0" nodeType="afterEffect" p14:presetBounceEnd="73000">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14:bounceEnd="73000">
                                          <p:cBhvr additive="base">
                                            <p:cTn id="19" dur="300" fill="hold"/>
                                            <p:tgtEl>
                                              <p:spTgt spid="49"/>
                                            </p:tgtEl>
                                            <p:attrNameLst>
                                              <p:attrName>ppt_x</p:attrName>
                                            </p:attrNameLst>
                                          </p:cBhvr>
                                          <p:tavLst>
                                            <p:tav tm="0">
                                              <p:val>
                                                <p:strVal val="#ppt_x"/>
                                              </p:val>
                                            </p:tav>
                                            <p:tav tm="100000">
                                              <p:val>
                                                <p:strVal val="#ppt_x"/>
                                              </p:val>
                                            </p:tav>
                                          </p:tavLst>
                                        </p:anim>
                                        <p:anim calcmode="lin" valueType="num" p14:bounceEnd="73000">
                                          <p:cBhvr additive="base">
                                            <p:cTn id="20" dur="300" fill="hold"/>
                                            <p:tgtEl>
                                              <p:spTgt spid="49"/>
                                            </p:tgtEl>
                                            <p:attrNameLst>
                                              <p:attrName>ppt_y</p:attrName>
                                            </p:attrNameLst>
                                          </p:cBhvr>
                                          <p:tavLst>
                                            <p:tav tm="0">
                                              <p:val>
                                                <p:strVal val="1+#ppt_h/2"/>
                                              </p:val>
                                            </p:tav>
                                            <p:tav tm="100000">
                                              <p:val>
                                                <p:strVal val="#ppt_y"/>
                                              </p:val>
                                            </p:tav>
                                          </p:tavLst>
                                        </p:anim>
                                      </p:childTnLst>
                                    </p:cTn>
                                  </p:par>
                                  <p:par>
                                    <p:cTn id="21" presetID="21" presetClass="entr" presetSubtype="1"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heel(1)">
                                          <p:cBhvr>
                                            <p:cTn id="23" dur="500"/>
                                            <p:tgtEl>
                                              <p:spTgt spid="60"/>
                                            </p:tgtEl>
                                          </p:cBhvr>
                                        </p:animEffect>
                                      </p:childTnLst>
                                    </p:cTn>
                                  </p:par>
                                </p:childTnLst>
                              </p:cTn>
                            </p:par>
                            <p:par>
                              <p:cTn id="24" fill="hold">
                                <p:stCondLst>
                                  <p:cond delay="1500"/>
                                </p:stCondLst>
                                <p:childTnLst>
                                  <p:par>
                                    <p:cTn id="25" presetID="2" presetClass="entr" presetSubtype="4" fill="hold" grpId="0" nodeType="afterEffect" p14:presetBounceEnd="73000">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14:bounceEnd="73000">
                                          <p:cBhvr additive="base">
                                            <p:cTn id="27" dur="300" fill="hold"/>
                                            <p:tgtEl>
                                              <p:spTgt spid="50"/>
                                            </p:tgtEl>
                                            <p:attrNameLst>
                                              <p:attrName>ppt_x</p:attrName>
                                            </p:attrNameLst>
                                          </p:cBhvr>
                                          <p:tavLst>
                                            <p:tav tm="0">
                                              <p:val>
                                                <p:strVal val="#ppt_x"/>
                                              </p:val>
                                            </p:tav>
                                            <p:tav tm="100000">
                                              <p:val>
                                                <p:strVal val="#ppt_x"/>
                                              </p:val>
                                            </p:tav>
                                          </p:tavLst>
                                        </p:anim>
                                        <p:anim calcmode="lin" valueType="num" p14:bounceEnd="73000">
                                          <p:cBhvr additive="base">
                                            <p:cTn id="28" dur="300" fill="hold"/>
                                            <p:tgtEl>
                                              <p:spTgt spid="50"/>
                                            </p:tgtEl>
                                            <p:attrNameLst>
                                              <p:attrName>ppt_y</p:attrName>
                                            </p:attrNameLst>
                                          </p:cBhvr>
                                          <p:tavLst>
                                            <p:tav tm="0">
                                              <p:val>
                                                <p:strVal val="1+#ppt_h/2"/>
                                              </p:val>
                                            </p:tav>
                                            <p:tav tm="100000">
                                              <p:val>
                                                <p:strVal val="#ppt_y"/>
                                              </p:val>
                                            </p:tav>
                                          </p:tavLst>
                                        </p:anim>
                                      </p:childTnLst>
                                    </p:cTn>
                                  </p:par>
                                  <p:par>
                                    <p:cTn id="29" presetID="21" presetClass="entr" presetSubtype="1"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heel(1)">
                                          <p:cBhvr>
                                            <p:cTn id="31" dur="500"/>
                                            <p:tgtEl>
                                              <p:spTgt spid="65"/>
                                            </p:tgtEl>
                                          </p:cBhvr>
                                        </p:animEffect>
                                      </p:childTnLst>
                                    </p:cTn>
                                  </p:par>
                                </p:childTnLst>
                              </p:cTn>
                            </p:par>
                            <p:par>
                              <p:cTn id="32" fill="hold">
                                <p:stCondLst>
                                  <p:cond delay="2000"/>
                                </p:stCondLst>
                                <p:childTnLst>
                                  <p:par>
                                    <p:cTn id="33" presetID="2" presetClass="entr" presetSubtype="4" fill="hold" grpId="0" nodeType="afterEffect" p14:presetBounceEnd="73000">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14:bounceEnd="73000">
                                          <p:cBhvr additive="base">
                                            <p:cTn id="35" dur="300" fill="hold"/>
                                            <p:tgtEl>
                                              <p:spTgt spid="51"/>
                                            </p:tgtEl>
                                            <p:attrNameLst>
                                              <p:attrName>ppt_x</p:attrName>
                                            </p:attrNameLst>
                                          </p:cBhvr>
                                          <p:tavLst>
                                            <p:tav tm="0">
                                              <p:val>
                                                <p:strVal val="#ppt_x"/>
                                              </p:val>
                                            </p:tav>
                                            <p:tav tm="100000">
                                              <p:val>
                                                <p:strVal val="#ppt_x"/>
                                              </p:val>
                                            </p:tav>
                                          </p:tavLst>
                                        </p:anim>
                                        <p:anim calcmode="lin" valueType="num" p14:bounceEnd="73000">
                                          <p:cBhvr additive="base">
                                            <p:cTn id="36" dur="3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heel(1)">
                                          <p:cBhvr>
                                            <p:cTn id="7" dur="500"/>
                                            <p:tgtEl>
                                              <p:spTgt spid="52"/>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300" fill="hold"/>
                                            <p:tgtEl>
                                              <p:spTgt spid="48"/>
                                            </p:tgtEl>
                                            <p:attrNameLst>
                                              <p:attrName>ppt_x</p:attrName>
                                            </p:attrNameLst>
                                          </p:cBhvr>
                                          <p:tavLst>
                                            <p:tav tm="0">
                                              <p:val>
                                                <p:strVal val="#ppt_x"/>
                                              </p:val>
                                            </p:tav>
                                            <p:tav tm="100000">
                                              <p:val>
                                                <p:strVal val="#ppt_x"/>
                                              </p:val>
                                            </p:tav>
                                          </p:tavLst>
                                        </p:anim>
                                        <p:anim calcmode="lin" valueType="num">
                                          <p:cBhvr additive="base">
                                            <p:cTn id="12" dur="300" fill="hold"/>
                                            <p:tgtEl>
                                              <p:spTgt spid="48"/>
                                            </p:tgtEl>
                                            <p:attrNameLst>
                                              <p:attrName>ppt_y</p:attrName>
                                            </p:attrNameLst>
                                          </p:cBhvr>
                                          <p:tavLst>
                                            <p:tav tm="0">
                                              <p:val>
                                                <p:strVal val="1+#ppt_h/2"/>
                                              </p:val>
                                            </p:tav>
                                            <p:tav tm="100000">
                                              <p:val>
                                                <p:strVal val="#ppt_y"/>
                                              </p:val>
                                            </p:tav>
                                          </p:tavLst>
                                        </p:anim>
                                      </p:childTnLst>
                                    </p:cTn>
                                  </p:par>
                                  <p:par>
                                    <p:cTn id="13" presetID="21" presetClass="entr" presetSubtype="1"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heel(1)">
                                          <p:cBhvr>
                                            <p:cTn id="15" dur="500"/>
                                            <p:tgtEl>
                                              <p:spTgt spid="55"/>
                                            </p:tgtEl>
                                          </p:cBhvr>
                                        </p:animEffect>
                                      </p:childTnLst>
                                    </p:cTn>
                                  </p:par>
                                </p:childTnLst>
                              </p:cTn>
                            </p:par>
                            <p:par>
                              <p:cTn id="16" fill="hold">
                                <p:stCondLst>
                                  <p:cond delay="1000"/>
                                </p:stCondLst>
                                <p:childTnLst>
                                  <p:par>
                                    <p:cTn id="17" presetID="2" presetClass="entr" presetSubtype="4" fill="hold" grpId="0"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additive="base">
                                            <p:cTn id="19" dur="300" fill="hold"/>
                                            <p:tgtEl>
                                              <p:spTgt spid="49"/>
                                            </p:tgtEl>
                                            <p:attrNameLst>
                                              <p:attrName>ppt_x</p:attrName>
                                            </p:attrNameLst>
                                          </p:cBhvr>
                                          <p:tavLst>
                                            <p:tav tm="0">
                                              <p:val>
                                                <p:strVal val="#ppt_x"/>
                                              </p:val>
                                            </p:tav>
                                            <p:tav tm="100000">
                                              <p:val>
                                                <p:strVal val="#ppt_x"/>
                                              </p:val>
                                            </p:tav>
                                          </p:tavLst>
                                        </p:anim>
                                        <p:anim calcmode="lin" valueType="num">
                                          <p:cBhvr additive="base">
                                            <p:cTn id="20" dur="300" fill="hold"/>
                                            <p:tgtEl>
                                              <p:spTgt spid="49"/>
                                            </p:tgtEl>
                                            <p:attrNameLst>
                                              <p:attrName>ppt_y</p:attrName>
                                            </p:attrNameLst>
                                          </p:cBhvr>
                                          <p:tavLst>
                                            <p:tav tm="0">
                                              <p:val>
                                                <p:strVal val="1+#ppt_h/2"/>
                                              </p:val>
                                            </p:tav>
                                            <p:tav tm="100000">
                                              <p:val>
                                                <p:strVal val="#ppt_y"/>
                                              </p:val>
                                            </p:tav>
                                          </p:tavLst>
                                        </p:anim>
                                      </p:childTnLst>
                                    </p:cTn>
                                  </p:par>
                                  <p:par>
                                    <p:cTn id="21" presetID="21" presetClass="entr" presetSubtype="1"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heel(1)">
                                          <p:cBhvr>
                                            <p:cTn id="23" dur="500"/>
                                            <p:tgtEl>
                                              <p:spTgt spid="60"/>
                                            </p:tgtEl>
                                          </p:cBhvr>
                                        </p:animEffect>
                                      </p:childTnLst>
                                    </p:cTn>
                                  </p:par>
                                </p:childTnLst>
                              </p:cTn>
                            </p:par>
                            <p:par>
                              <p:cTn id="24" fill="hold">
                                <p:stCondLst>
                                  <p:cond delay="1500"/>
                                </p:stCondLst>
                                <p:childTnLst>
                                  <p:par>
                                    <p:cTn id="25" presetID="2" presetClass="entr" presetSubtype="4"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300" fill="hold"/>
                                            <p:tgtEl>
                                              <p:spTgt spid="50"/>
                                            </p:tgtEl>
                                            <p:attrNameLst>
                                              <p:attrName>ppt_x</p:attrName>
                                            </p:attrNameLst>
                                          </p:cBhvr>
                                          <p:tavLst>
                                            <p:tav tm="0">
                                              <p:val>
                                                <p:strVal val="#ppt_x"/>
                                              </p:val>
                                            </p:tav>
                                            <p:tav tm="100000">
                                              <p:val>
                                                <p:strVal val="#ppt_x"/>
                                              </p:val>
                                            </p:tav>
                                          </p:tavLst>
                                        </p:anim>
                                        <p:anim calcmode="lin" valueType="num">
                                          <p:cBhvr additive="base">
                                            <p:cTn id="28" dur="300" fill="hold"/>
                                            <p:tgtEl>
                                              <p:spTgt spid="50"/>
                                            </p:tgtEl>
                                            <p:attrNameLst>
                                              <p:attrName>ppt_y</p:attrName>
                                            </p:attrNameLst>
                                          </p:cBhvr>
                                          <p:tavLst>
                                            <p:tav tm="0">
                                              <p:val>
                                                <p:strVal val="1+#ppt_h/2"/>
                                              </p:val>
                                            </p:tav>
                                            <p:tav tm="100000">
                                              <p:val>
                                                <p:strVal val="#ppt_y"/>
                                              </p:val>
                                            </p:tav>
                                          </p:tavLst>
                                        </p:anim>
                                      </p:childTnLst>
                                    </p:cTn>
                                  </p:par>
                                  <p:par>
                                    <p:cTn id="29" presetID="21" presetClass="entr" presetSubtype="1"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heel(1)">
                                          <p:cBhvr>
                                            <p:cTn id="31" dur="500"/>
                                            <p:tgtEl>
                                              <p:spTgt spid="65"/>
                                            </p:tgtEl>
                                          </p:cBhvr>
                                        </p:animEffect>
                                      </p:childTnLst>
                                    </p:cTn>
                                  </p:par>
                                </p:childTnLst>
                              </p:cTn>
                            </p:par>
                            <p:par>
                              <p:cTn id="32" fill="hold">
                                <p:stCondLst>
                                  <p:cond delay="2000"/>
                                </p:stCondLst>
                                <p:childTnLst>
                                  <p:par>
                                    <p:cTn id="33" presetID="2" presetClass="entr" presetSubtype="4"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cBhvr additive="base">
                                            <p:cTn id="35" dur="300" fill="hold"/>
                                            <p:tgtEl>
                                              <p:spTgt spid="51"/>
                                            </p:tgtEl>
                                            <p:attrNameLst>
                                              <p:attrName>ppt_x</p:attrName>
                                            </p:attrNameLst>
                                          </p:cBhvr>
                                          <p:tavLst>
                                            <p:tav tm="0">
                                              <p:val>
                                                <p:strVal val="#ppt_x"/>
                                              </p:val>
                                            </p:tav>
                                            <p:tav tm="100000">
                                              <p:val>
                                                <p:strVal val="#ppt_x"/>
                                              </p:val>
                                            </p:tav>
                                          </p:tavLst>
                                        </p:anim>
                                        <p:anim calcmode="lin" valueType="num">
                                          <p:cBhvr additive="base">
                                            <p:cTn id="36" dur="3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KSO_Shape"/>
          <p:cNvSpPr/>
          <p:nvPr/>
        </p:nvSpPr>
        <p:spPr>
          <a:xfrm>
            <a:off x="795191" y="1250015"/>
            <a:ext cx="1852289" cy="1188397"/>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18" name="KSO_Shape"/>
          <p:cNvSpPr/>
          <p:nvPr/>
        </p:nvSpPr>
        <p:spPr>
          <a:xfrm>
            <a:off x="795191" y="2996459"/>
            <a:ext cx="1852289" cy="1246041"/>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19" name="KSO_Shape"/>
          <p:cNvSpPr/>
          <p:nvPr/>
        </p:nvSpPr>
        <p:spPr>
          <a:xfrm>
            <a:off x="4722539" y="1250015"/>
            <a:ext cx="1852289" cy="1188397"/>
          </a:xfrm>
          <a:prstGeom prst="rect">
            <a:avLst/>
          </a:prstGeom>
          <a:blipFill dpi="0" rotWithShape="1">
            <a:blip r:embed="rId5"/>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20" name="KSO_Shape"/>
          <p:cNvSpPr/>
          <p:nvPr/>
        </p:nvSpPr>
        <p:spPr>
          <a:xfrm>
            <a:off x="4722539" y="2996459"/>
            <a:ext cx="1852289" cy="1246041"/>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21" name="矩形 20"/>
          <p:cNvSpPr/>
          <p:nvPr/>
        </p:nvSpPr>
        <p:spPr>
          <a:xfrm>
            <a:off x="2761117" y="1536622"/>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2" name="矩形 21"/>
          <p:cNvSpPr/>
          <p:nvPr/>
        </p:nvSpPr>
        <p:spPr>
          <a:xfrm>
            <a:off x="2761115" y="1776423"/>
            <a:ext cx="1657700"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p:txBody>
      </p:sp>
      <p:sp>
        <p:nvSpPr>
          <p:cNvPr id="23" name="矩形 22"/>
          <p:cNvSpPr/>
          <p:nvPr/>
        </p:nvSpPr>
        <p:spPr>
          <a:xfrm>
            <a:off x="2761115" y="3500872"/>
            <a:ext cx="1657700" cy="662489"/>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a:p>
            <a:pPr>
              <a:lnSpc>
                <a:spcPct val="120000"/>
              </a:lnSpc>
            </a:pP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24" name="矩形 23"/>
          <p:cNvSpPr/>
          <p:nvPr/>
        </p:nvSpPr>
        <p:spPr>
          <a:xfrm>
            <a:off x="6705417" y="1536622"/>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5" name="矩形 24"/>
          <p:cNvSpPr/>
          <p:nvPr/>
        </p:nvSpPr>
        <p:spPr>
          <a:xfrm>
            <a:off x="6705415" y="1776423"/>
            <a:ext cx="1657700"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p:txBody>
      </p:sp>
      <p:sp>
        <p:nvSpPr>
          <p:cNvPr id="26" name="矩形 25"/>
          <p:cNvSpPr/>
          <p:nvPr/>
        </p:nvSpPr>
        <p:spPr>
          <a:xfrm>
            <a:off x="6705417" y="3261071"/>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7" name="矩形 26"/>
          <p:cNvSpPr/>
          <p:nvPr/>
        </p:nvSpPr>
        <p:spPr>
          <a:xfrm>
            <a:off x="6705415" y="3522867"/>
            <a:ext cx="1657700" cy="472437"/>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p:txBody>
      </p:sp>
      <p:sp>
        <p:nvSpPr>
          <p:cNvPr id="28" name="矩形 27"/>
          <p:cNvSpPr/>
          <p:nvPr/>
        </p:nvSpPr>
        <p:spPr>
          <a:xfrm>
            <a:off x="2761117" y="3261071"/>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9"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0" name="矩形 29"/>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Click="0" advTm="4809">
        <p14:ferris dir="l"/>
      </p:transition>
    </mc:Choice>
    <mc:Fallback xmlns="">
      <p:transition spd="slow" advClick="0" advTm="480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23" presetClass="entr" presetSubtype="16" fill="hold" grpId="0" nodeType="afterEffect">
                                  <p:stCondLst>
                                    <p:cond delay="0"/>
                                  </p:stCondLst>
                                  <p:iterate type="lt">
                                    <p:tmPct val="10000"/>
                                  </p:iterate>
                                  <p:childTnLst>
                                    <p:set>
                                      <p:cBhvr>
                                        <p:cTn id="10" dur="1" fill="hold">
                                          <p:stCondLst>
                                            <p:cond delay="0"/>
                                          </p:stCondLst>
                                        </p:cTn>
                                        <p:tgtEl>
                                          <p:spTgt spid="21"/>
                                        </p:tgtEl>
                                        <p:attrNameLst>
                                          <p:attrName>style.visibility</p:attrName>
                                        </p:attrNameLst>
                                      </p:cBhvr>
                                      <p:to>
                                        <p:strVal val="visible"/>
                                      </p:to>
                                    </p:set>
                                    <p:anim calcmode="lin" valueType="num">
                                      <p:cBhvr>
                                        <p:cTn id="11" dur="250" fill="hold"/>
                                        <p:tgtEl>
                                          <p:spTgt spid="21"/>
                                        </p:tgtEl>
                                        <p:attrNameLst>
                                          <p:attrName>ppt_w</p:attrName>
                                        </p:attrNameLst>
                                      </p:cBhvr>
                                      <p:tavLst>
                                        <p:tav tm="0">
                                          <p:val>
                                            <p:fltVal val="0"/>
                                          </p:val>
                                        </p:tav>
                                        <p:tav tm="100000">
                                          <p:val>
                                            <p:strVal val="#ppt_w"/>
                                          </p:val>
                                        </p:tav>
                                      </p:tavLst>
                                    </p:anim>
                                    <p:anim calcmode="lin" valueType="num">
                                      <p:cBhvr>
                                        <p:cTn id="12" dur="250" fill="hold"/>
                                        <p:tgtEl>
                                          <p:spTgt spid="21"/>
                                        </p:tgtEl>
                                        <p:attrNameLst>
                                          <p:attrName>ppt_h</p:attrName>
                                        </p:attrNameLst>
                                      </p:cBhvr>
                                      <p:tavLst>
                                        <p:tav tm="0">
                                          <p:val>
                                            <p:fltVal val="0"/>
                                          </p:val>
                                        </p:tav>
                                        <p:tav tm="100000">
                                          <p:val>
                                            <p:strVal val="#ppt_h"/>
                                          </p:val>
                                        </p:tav>
                                      </p:tavLst>
                                    </p:anim>
                                  </p:childTnLst>
                                </p:cTn>
                              </p:par>
                            </p:childTnLst>
                          </p:cTn>
                        </p:par>
                        <p:par>
                          <p:cTn id="13" fill="hold">
                            <p:stCondLst>
                              <p:cond delay="850"/>
                            </p:stCondLst>
                            <p:childTnLst>
                              <p:par>
                                <p:cTn id="14" presetID="14" presetClass="entr" presetSubtype="10"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randombar(horizontal)">
                                      <p:cBhvr>
                                        <p:cTn id="16" dur="250"/>
                                        <p:tgtEl>
                                          <p:spTgt spid="22"/>
                                        </p:tgtEl>
                                      </p:cBhvr>
                                    </p:animEffect>
                                  </p:childTnLst>
                                </p:cTn>
                              </p:par>
                            </p:childTnLst>
                          </p:cTn>
                        </p:par>
                        <p:par>
                          <p:cTn id="17" fill="hold">
                            <p:stCondLst>
                              <p:cond delay="1350"/>
                            </p:stCondLst>
                            <p:childTnLst>
                              <p:par>
                                <p:cTn id="18" presetID="22" presetClass="entr" presetSubtype="8"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par>
                          <p:cTn id="21" fill="hold">
                            <p:stCondLst>
                              <p:cond delay="1850"/>
                            </p:stCondLst>
                            <p:childTnLst>
                              <p:par>
                                <p:cTn id="22" presetID="23" presetClass="entr" presetSubtype="16" fill="hold" grpId="0" nodeType="afterEffect">
                                  <p:stCondLst>
                                    <p:cond delay="0"/>
                                  </p:stCondLst>
                                  <p:iterate type="lt">
                                    <p:tmPct val="10000"/>
                                  </p:iterate>
                                  <p:childTnLst>
                                    <p:set>
                                      <p:cBhvr>
                                        <p:cTn id="23" dur="1" fill="hold">
                                          <p:stCondLst>
                                            <p:cond delay="0"/>
                                          </p:stCondLst>
                                        </p:cTn>
                                        <p:tgtEl>
                                          <p:spTgt spid="28"/>
                                        </p:tgtEl>
                                        <p:attrNameLst>
                                          <p:attrName>style.visibility</p:attrName>
                                        </p:attrNameLst>
                                      </p:cBhvr>
                                      <p:to>
                                        <p:strVal val="visible"/>
                                      </p:to>
                                    </p:set>
                                    <p:anim calcmode="lin" valueType="num">
                                      <p:cBhvr>
                                        <p:cTn id="24" dur="250" fill="hold"/>
                                        <p:tgtEl>
                                          <p:spTgt spid="28"/>
                                        </p:tgtEl>
                                        <p:attrNameLst>
                                          <p:attrName>ppt_w</p:attrName>
                                        </p:attrNameLst>
                                      </p:cBhvr>
                                      <p:tavLst>
                                        <p:tav tm="0">
                                          <p:val>
                                            <p:fltVal val="0"/>
                                          </p:val>
                                        </p:tav>
                                        <p:tav tm="100000">
                                          <p:val>
                                            <p:strVal val="#ppt_w"/>
                                          </p:val>
                                        </p:tav>
                                      </p:tavLst>
                                    </p:anim>
                                    <p:anim calcmode="lin" valueType="num">
                                      <p:cBhvr>
                                        <p:cTn id="25" dur="250" fill="hold"/>
                                        <p:tgtEl>
                                          <p:spTgt spid="28"/>
                                        </p:tgtEl>
                                        <p:attrNameLst>
                                          <p:attrName>ppt_h</p:attrName>
                                        </p:attrNameLst>
                                      </p:cBhvr>
                                      <p:tavLst>
                                        <p:tav tm="0">
                                          <p:val>
                                            <p:fltVal val="0"/>
                                          </p:val>
                                        </p:tav>
                                        <p:tav tm="100000">
                                          <p:val>
                                            <p:strVal val="#ppt_h"/>
                                          </p:val>
                                        </p:tav>
                                      </p:tavLst>
                                    </p:anim>
                                  </p:childTnLst>
                                </p:cTn>
                              </p:par>
                            </p:childTnLst>
                          </p:cTn>
                        </p:par>
                        <p:par>
                          <p:cTn id="26" fill="hold">
                            <p:stCondLst>
                              <p:cond delay="1950"/>
                            </p:stCondLst>
                            <p:childTnLst>
                              <p:par>
                                <p:cTn id="27" presetID="14" presetClass="entr" presetSubtype="1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randombar(horizontal)">
                                      <p:cBhvr>
                                        <p:cTn id="29" dur="250"/>
                                        <p:tgtEl>
                                          <p:spTgt spid="23"/>
                                        </p:tgtEl>
                                      </p:cBhvr>
                                    </p:animEffect>
                                  </p:childTnLst>
                                </p:cTn>
                              </p:par>
                            </p:childTnLst>
                          </p:cTn>
                        </p:par>
                        <p:par>
                          <p:cTn id="30" fill="hold">
                            <p:stCondLst>
                              <p:cond delay="2450"/>
                            </p:stCondLst>
                            <p:childTnLst>
                              <p:par>
                                <p:cTn id="31" presetID="22" presetClass="entr" presetSubtype="8"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500"/>
                                        <p:tgtEl>
                                          <p:spTgt spid="19"/>
                                        </p:tgtEl>
                                      </p:cBhvr>
                                    </p:animEffect>
                                  </p:childTnLst>
                                </p:cTn>
                              </p:par>
                            </p:childTnLst>
                          </p:cTn>
                        </p:par>
                        <p:par>
                          <p:cTn id="34" fill="hold">
                            <p:stCondLst>
                              <p:cond delay="2950"/>
                            </p:stCondLst>
                            <p:childTnLst>
                              <p:par>
                                <p:cTn id="35" presetID="23" presetClass="entr" presetSubtype="16" fill="hold" grpId="0" nodeType="afterEffect">
                                  <p:stCondLst>
                                    <p:cond delay="0"/>
                                  </p:stCondLst>
                                  <p:iterate type="lt">
                                    <p:tmPct val="10000"/>
                                  </p:iterate>
                                  <p:childTnLst>
                                    <p:set>
                                      <p:cBhvr>
                                        <p:cTn id="36" dur="1" fill="hold">
                                          <p:stCondLst>
                                            <p:cond delay="0"/>
                                          </p:stCondLst>
                                        </p:cTn>
                                        <p:tgtEl>
                                          <p:spTgt spid="24"/>
                                        </p:tgtEl>
                                        <p:attrNameLst>
                                          <p:attrName>style.visibility</p:attrName>
                                        </p:attrNameLst>
                                      </p:cBhvr>
                                      <p:to>
                                        <p:strVal val="visible"/>
                                      </p:to>
                                    </p:set>
                                    <p:anim calcmode="lin" valueType="num">
                                      <p:cBhvr>
                                        <p:cTn id="37" dur="250" fill="hold"/>
                                        <p:tgtEl>
                                          <p:spTgt spid="24"/>
                                        </p:tgtEl>
                                        <p:attrNameLst>
                                          <p:attrName>ppt_w</p:attrName>
                                        </p:attrNameLst>
                                      </p:cBhvr>
                                      <p:tavLst>
                                        <p:tav tm="0">
                                          <p:val>
                                            <p:fltVal val="0"/>
                                          </p:val>
                                        </p:tav>
                                        <p:tav tm="100000">
                                          <p:val>
                                            <p:strVal val="#ppt_w"/>
                                          </p:val>
                                        </p:tav>
                                      </p:tavLst>
                                    </p:anim>
                                    <p:anim calcmode="lin" valueType="num">
                                      <p:cBhvr>
                                        <p:cTn id="38" dur="250" fill="hold"/>
                                        <p:tgtEl>
                                          <p:spTgt spid="24"/>
                                        </p:tgtEl>
                                        <p:attrNameLst>
                                          <p:attrName>ppt_h</p:attrName>
                                        </p:attrNameLst>
                                      </p:cBhvr>
                                      <p:tavLst>
                                        <p:tav tm="0">
                                          <p:val>
                                            <p:fltVal val="0"/>
                                          </p:val>
                                        </p:tav>
                                        <p:tav tm="100000">
                                          <p:val>
                                            <p:strVal val="#ppt_h"/>
                                          </p:val>
                                        </p:tav>
                                      </p:tavLst>
                                    </p:anim>
                                  </p:childTnLst>
                                </p:cTn>
                              </p:par>
                            </p:childTnLst>
                          </p:cTn>
                        </p:par>
                        <p:par>
                          <p:cTn id="39" fill="hold">
                            <p:stCondLst>
                              <p:cond delay="3049"/>
                            </p:stCondLst>
                            <p:childTnLst>
                              <p:par>
                                <p:cTn id="40" presetID="14" presetClass="entr" presetSubtype="10" fill="hold" grpId="0" nodeType="after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randombar(horizontal)">
                                      <p:cBhvr>
                                        <p:cTn id="42" dur="250"/>
                                        <p:tgtEl>
                                          <p:spTgt spid="25"/>
                                        </p:tgtEl>
                                      </p:cBhvr>
                                    </p:animEffect>
                                  </p:childTnLst>
                                </p:cTn>
                              </p:par>
                            </p:childTnLst>
                          </p:cTn>
                        </p:par>
                        <p:par>
                          <p:cTn id="43" fill="hold">
                            <p:stCondLst>
                              <p:cond delay="3549"/>
                            </p:stCondLst>
                            <p:childTnLst>
                              <p:par>
                                <p:cTn id="44" presetID="22" presetClass="entr" presetSubtype="8"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ipe(left)">
                                      <p:cBhvr>
                                        <p:cTn id="46" dur="500"/>
                                        <p:tgtEl>
                                          <p:spTgt spid="20"/>
                                        </p:tgtEl>
                                      </p:cBhvr>
                                    </p:animEffect>
                                  </p:childTnLst>
                                </p:cTn>
                              </p:par>
                            </p:childTnLst>
                          </p:cTn>
                        </p:par>
                        <p:par>
                          <p:cTn id="47" fill="hold">
                            <p:stCondLst>
                              <p:cond delay="4049"/>
                            </p:stCondLst>
                            <p:childTnLst>
                              <p:par>
                                <p:cTn id="48" presetID="23" presetClass="entr" presetSubtype="16" fill="hold" grpId="0" nodeType="afterEffect">
                                  <p:stCondLst>
                                    <p:cond delay="0"/>
                                  </p:stCondLst>
                                  <p:iterate type="lt">
                                    <p:tmPct val="10000"/>
                                  </p:iterate>
                                  <p:childTnLst>
                                    <p:set>
                                      <p:cBhvr>
                                        <p:cTn id="49" dur="1" fill="hold">
                                          <p:stCondLst>
                                            <p:cond delay="0"/>
                                          </p:stCondLst>
                                        </p:cTn>
                                        <p:tgtEl>
                                          <p:spTgt spid="26"/>
                                        </p:tgtEl>
                                        <p:attrNameLst>
                                          <p:attrName>style.visibility</p:attrName>
                                        </p:attrNameLst>
                                      </p:cBhvr>
                                      <p:to>
                                        <p:strVal val="visible"/>
                                      </p:to>
                                    </p:set>
                                    <p:anim calcmode="lin" valueType="num">
                                      <p:cBhvr>
                                        <p:cTn id="50" dur="250" fill="hold"/>
                                        <p:tgtEl>
                                          <p:spTgt spid="26"/>
                                        </p:tgtEl>
                                        <p:attrNameLst>
                                          <p:attrName>ppt_w</p:attrName>
                                        </p:attrNameLst>
                                      </p:cBhvr>
                                      <p:tavLst>
                                        <p:tav tm="0">
                                          <p:val>
                                            <p:fltVal val="0"/>
                                          </p:val>
                                        </p:tav>
                                        <p:tav tm="100000">
                                          <p:val>
                                            <p:strVal val="#ppt_w"/>
                                          </p:val>
                                        </p:tav>
                                      </p:tavLst>
                                    </p:anim>
                                    <p:anim calcmode="lin" valueType="num">
                                      <p:cBhvr>
                                        <p:cTn id="51" dur="250" fill="hold"/>
                                        <p:tgtEl>
                                          <p:spTgt spid="26"/>
                                        </p:tgtEl>
                                        <p:attrNameLst>
                                          <p:attrName>ppt_h</p:attrName>
                                        </p:attrNameLst>
                                      </p:cBhvr>
                                      <p:tavLst>
                                        <p:tav tm="0">
                                          <p:val>
                                            <p:fltVal val="0"/>
                                          </p:val>
                                        </p:tav>
                                        <p:tav tm="100000">
                                          <p:val>
                                            <p:strVal val="#ppt_h"/>
                                          </p:val>
                                        </p:tav>
                                      </p:tavLst>
                                    </p:anim>
                                  </p:childTnLst>
                                </p:cTn>
                              </p:par>
                            </p:childTnLst>
                          </p:cTn>
                        </p:par>
                        <p:par>
                          <p:cTn id="52" fill="hold">
                            <p:stCondLst>
                              <p:cond delay="4149"/>
                            </p:stCondLst>
                            <p:childTnLst>
                              <p:par>
                                <p:cTn id="53" presetID="14" presetClass="entr" presetSubtype="10" fill="hold" grpId="0" nodeType="after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randombar(horizontal)">
                                      <p:cBhvr>
                                        <p:cTn id="55"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p:bldP spid="22" grpId="0"/>
      <p:bldP spid="23" grpId="0"/>
      <p:bldP spid="24" grpId="0"/>
      <p:bldP spid="25" grpId="0"/>
      <p:bldP spid="26" grpId="0"/>
      <p:bldP spid="27" grpId="0"/>
      <p:bldP spid="2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2176404" y="217882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4" name="文本框 23"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5222573" y="2198264"/>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5" name="文本框 2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734521" y="328524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6" name="文本框 25"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3655538" y="3268509"/>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7" name="文本框 2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12529" y="328249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cxnSp>
        <p:nvCxnSpPr>
          <p:cNvPr id="17" name="直接连接符 1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CxnSpPr/>
          <p:nvPr/>
        </p:nvCxnSpPr>
        <p:spPr>
          <a:xfrm rot="10800000">
            <a:off x="1445412" y="3034873"/>
            <a:ext cx="6111875"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 name="Oval 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2890314" y="2960654"/>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19"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4417250"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0" name="Oval 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1409447" y="295685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1"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6030900"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2"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7442025"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911067" y="1542478"/>
            <a:ext cx="1135237" cy="1292576"/>
            <a:chOff x="1213104" y="2098742"/>
            <a:chExt cx="1544637" cy="1758718"/>
          </a:xfrm>
        </p:grpSpPr>
        <p:sp>
          <p:nvSpPr>
            <p:cNvPr id="29" name="Freeform 30"/>
            <p:cNvSpPr/>
            <p:nvPr/>
          </p:nvSpPr>
          <p:spPr bwMode="auto">
            <a:xfrm flipV="1">
              <a:off x="1213104" y="2098742"/>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0" name="圆角矩形 29"/>
            <p:cNvSpPr/>
            <p:nvPr/>
          </p:nvSpPr>
          <p:spPr>
            <a:xfrm flipV="1">
              <a:off x="1366676" y="2213045"/>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1" name="矩形 30"/>
            <p:cNvSpPr/>
            <p:nvPr/>
          </p:nvSpPr>
          <p:spPr>
            <a:xfrm>
              <a:off x="1540164" y="2139221"/>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4</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32" name="Freeform 48"/>
            <p:cNvSpPr>
              <a:spLocks noEditPoints="1"/>
            </p:cNvSpPr>
            <p:nvPr/>
          </p:nvSpPr>
          <p:spPr bwMode="auto">
            <a:xfrm>
              <a:off x="1765262" y="3009117"/>
              <a:ext cx="450005" cy="430745"/>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9F3E7"/>
            </a:solidFill>
            <a:ln>
              <a:noFill/>
            </a:ln>
          </p:spPr>
          <p:txBody>
            <a:bodyPr vert="horz" wrap="square" lIns="67204" tIns="33602" rIns="67204" bIns="33602" numCol="1" anchor="t" anchorCtr="0" compatLnSpc="1"/>
            <a:lstStyle/>
            <a:p>
              <a:endParaRPr lang="zh-CN" altLang="en-US" sz="975" dirty="0">
                <a:solidFill>
                  <a:schemeClr val="bg1"/>
                </a:solidFill>
              </a:endParaRPr>
            </a:p>
          </p:txBody>
        </p:sp>
      </p:grpSp>
      <p:grpSp>
        <p:nvGrpSpPr>
          <p:cNvPr id="33" name="组合 3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3936343" y="1542478"/>
            <a:ext cx="1135237" cy="1292576"/>
            <a:chOff x="5329386" y="2098742"/>
            <a:chExt cx="1544637" cy="1758718"/>
          </a:xfrm>
        </p:grpSpPr>
        <p:sp>
          <p:nvSpPr>
            <p:cNvPr id="34" name="Freeform 30"/>
            <p:cNvSpPr/>
            <p:nvPr/>
          </p:nvSpPr>
          <p:spPr bwMode="auto">
            <a:xfrm flipV="1">
              <a:off x="5329386" y="2098742"/>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35" name="圆角矩形 34"/>
            <p:cNvSpPr/>
            <p:nvPr/>
          </p:nvSpPr>
          <p:spPr>
            <a:xfrm flipV="1">
              <a:off x="5482958" y="2213045"/>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6" name="矩形 35"/>
            <p:cNvSpPr/>
            <p:nvPr/>
          </p:nvSpPr>
          <p:spPr>
            <a:xfrm>
              <a:off x="5656446" y="2139221"/>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6</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37" name="Freeform 26"/>
            <p:cNvSpPr>
              <a:spLocks noEditPoints="1"/>
            </p:cNvSpPr>
            <p:nvPr/>
          </p:nvSpPr>
          <p:spPr bwMode="auto">
            <a:xfrm>
              <a:off x="5930692" y="3009117"/>
              <a:ext cx="372242" cy="391090"/>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CF6EA"/>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38" name="组合 3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2388887" y="3196643"/>
            <a:ext cx="1135237" cy="1292576"/>
            <a:chOff x="3223870" y="4349448"/>
            <a:chExt cx="1544637" cy="1758718"/>
          </a:xfrm>
        </p:grpSpPr>
        <p:sp>
          <p:nvSpPr>
            <p:cNvPr id="39" name="Freeform 30"/>
            <p:cNvSpPr/>
            <p:nvPr/>
          </p:nvSpPr>
          <p:spPr bwMode="auto">
            <a:xfrm>
              <a:off x="3223870" y="4349448"/>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40" name="圆角矩形 39"/>
            <p:cNvSpPr/>
            <p:nvPr/>
          </p:nvSpPr>
          <p:spPr>
            <a:xfrm>
              <a:off x="3377442" y="5670383"/>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41" name="矩形 40"/>
            <p:cNvSpPr/>
            <p:nvPr/>
          </p:nvSpPr>
          <p:spPr>
            <a:xfrm>
              <a:off x="3551545" y="5609417"/>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5</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44" name="Freeform 31"/>
            <p:cNvSpPr>
              <a:spLocks noEditPoints="1"/>
            </p:cNvSpPr>
            <p:nvPr/>
          </p:nvSpPr>
          <p:spPr bwMode="auto">
            <a:xfrm>
              <a:off x="3843451" y="4769987"/>
              <a:ext cx="355432" cy="446982"/>
            </a:xfrm>
            <a:custGeom>
              <a:avLst/>
              <a:gdLst>
                <a:gd name="T0" fmla="*/ 82 w 484"/>
                <a:gd name="T1" fmla="*/ 166 h 606"/>
                <a:gd name="T2" fmla="*/ 82 w 484"/>
                <a:gd name="T3" fmla="*/ 186 h 606"/>
                <a:gd name="T4" fmla="*/ 331 w 484"/>
                <a:gd name="T5" fmla="*/ 193 h 606"/>
                <a:gd name="T6" fmla="*/ 331 w 484"/>
                <a:gd name="T7" fmla="*/ 173 h 606"/>
                <a:gd name="T8" fmla="*/ 387 w 484"/>
                <a:gd name="T9" fmla="*/ 556 h 606"/>
                <a:gd name="T10" fmla="*/ 388 w 484"/>
                <a:gd name="T11" fmla="*/ 564 h 606"/>
                <a:gd name="T12" fmla="*/ 418 w 484"/>
                <a:gd name="T13" fmla="*/ 594 h 606"/>
                <a:gd name="T14" fmla="*/ 474 w 484"/>
                <a:gd name="T15" fmla="*/ 581 h 606"/>
                <a:gd name="T16" fmla="*/ 474 w 484"/>
                <a:gd name="T17" fmla="*/ 531 h 606"/>
                <a:gd name="T18" fmla="*/ 444 w 484"/>
                <a:gd name="T19" fmla="*/ 501 h 606"/>
                <a:gd name="T20" fmla="*/ 418 w 484"/>
                <a:gd name="T21" fmla="*/ 519 h 606"/>
                <a:gd name="T22" fmla="*/ 384 w 484"/>
                <a:gd name="T23" fmla="*/ 553 h 606"/>
                <a:gd name="T24" fmla="*/ 218 w 484"/>
                <a:gd name="T25" fmla="*/ 354 h 606"/>
                <a:gd name="T26" fmla="*/ 229 w 484"/>
                <a:gd name="T27" fmla="*/ 336 h 606"/>
                <a:gd name="T28" fmla="*/ 207 w 484"/>
                <a:gd name="T29" fmla="*/ 320 h 606"/>
                <a:gd name="T30" fmla="*/ 207 w 484"/>
                <a:gd name="T31" fmla="*/ 327 h 606"/>
                <a:gd name="T32" fmla="*/ 246 w 484"/>
                <a:gd name="T33" fmla="*/ 422 h 606"/>
                <a:gd name="T34" fmla="*/ 297 w 484"/>
                <a:gd name="T35" fmla="*/ 364 h 606"/>
                <a:gd name="T36" fmla="*/ 296 w 484"/>
                <a:gd name="T37" fmla="*/ 357 h 606"/>
                <a:gd name="T38" fmla="*/ 224 w 484"/>
                <a:gd name="T39" fmla="*/ 362 h 606"/>
                <a:gd name="T40" fmla="*/ 224 w 484"/>
                <a:gd name="T41" fmla="*/ 368 h 606"/>
                <a:gd name="T42" fmla="*/ 246 w 484"/>
                <a:gd name="T43" fmla="*/ 422 h 606"/>
                <a:gd name="T44" fmla="*/ 429 w 484"/>
                <a:gd name="T45" fmla="*/ 493 h 606"/>
                <a:gd name="T46" fmla="*/ 429 w 484"/>
                <a:gd name="T47" fmla="*/ 487 h 606"/>
                <a:gd name="T48" fmla="*/ 394 w 484"/>
                <a:gd name="T49" fmla="*/ 451 h 606"/>
                <a:gd name="T50" fmla="*/ 256 w 484"/>
                <a:gd name="T51" fmla="*/ 425 h 606"/>
                <a:gd name="T52" fmla="*/ 256 w 484"/>
                <a:gd name="T53" fmla="*/ 432 h 606"/>
                <a:gd name="T54" fmla="*/ 354 w 484"/>
                <a:gd name="T55" fmla="*/ 530 h 606"/>
                <a:gd name="T56" fmla="*/ 395 w 484"/>
                <a:gd name="T57" fmla="*/ 528 h 606"/>
                <a:gd name="T58" fmla="*/ 20 w 484"/>
                <a:gd name="T59" fmla="*/ 150 h 606"/>
                <a:gd name="T60" fmla="*/ 89 w 484"/>
                <a:gd name="T61" fmla="*/ 152 h 606"/>
                <a:gd name="T62" fmla="*/ 141 w 484"/>
                <a:gd name="T63" fmla="*/ 100 h 606"/>
                <a:gd name="T64" fmla="*/ 141 w 484"/>
                <a:gd name="T65" fmla="*/ 93 h 606"/>
                <a:gd name="T66" fmla="*/ 383 w 484"/>
                <a:gd name="T67" fmla="*/ 27 h 606"/>
                <a:gd name="T68" fmla="*/ 394 w 484"/>
                <a:gd name="T69" fmla="*/ 422 h 606"/>
                <a:gd name="T70" fmla="*/ 414 w 484"/>
                <a:gd name="T71" fmla="*/ 449 h 606"/>
                <a:gd name="T72" fmla="*/ 414 w 484"/>
                <a:gd name="T73" fmla="*/ 39 h 606"/>
                <a:gd name="T74" fmla="*/ 383 w 484"/>
                <a:gd name="T75" fmla="*/ 0 h 606"/>
                <a:gd name="T76" fmla="*/ 121 w 484"/>
                <a:gd name="T77" fmla="*/ 2 h 606"/>
                <a:gd name="T78" fmla="*/ 0 w 484"/>
                <a:gd name="T79" fmla="*/ 123 h 606"/>
                <a:gd name="T80" fmla="*/ 0 w 484"/>
                <a:gd name="T81" fmla="*/ 492 h 606"/>
                <a:gd name="T82" fmla="*/ 32 w 484"/>
                <a:gd name="T83" fmla="*/ 530 h 606"/>
                <a:gd name="T84" fmla="*/ 319 w 484"/>
                <a:gd name="T85" fmla="*/ 524 h 606"/>
                <a:gd name="T86" fmla="*/ 305 w 484"/>
                <a:gd name="T87" fmla="*/ 503 h 606"/>
                <a:gd name="T88" fmla="*/ 20 w 484"/>
                <a:gd name="T89" fmla="*/ 492 h 606"/>
                <a:gd name="T90" fmla="*/ 20 w 484"/>
                <a:gd name="T91" fmla="*/ 150 h 606"/>
                <a:gd name="T92" fmla="*/ 156 w 484"/>
                <a:gd name="T93" fmla="*/ 321 h 606"/>
                <a:gd name="T94" fmla="*/ 156 w 484"/>
                <a:gd name="T95" fmla="*/ 301 h 606"/>
                <a:gd name="T96" fmla="*/ 82 w 484"/>
                <a:gd name="T97" fmla="*/ 294 h 606"/>
                <a:gd name="T98" fmla="*/ 82 w 484"/>
                <a:gd name="T99" fmla="*/ 315 h 606"/>
                <a:gd name="T100" fmla="*/ 82 w 484"/>
                <a:gd name="T101" fmla="*/ 272 h 606"/>
                <a:gd name="T102" fmla="*/ 331 w 484"/>
                <a:gd name="T103" fmla="*/ 279 h 606"/>
                <a:gd name="T104" fmla="*/ 331 w 484"/>
                <a:gd name="T105" fmla="*/ 258 h 606"/>
                <a:gd name="T106" fmla="*/ 82 w 484"/>
                <a:gd name="T107" fmla="*/ 252 h 606"/>
                <a:gd name="T108" fmla="*/ 82 w 484"/>
                <a:gd name="T109" fmla="*/ 272 h 606"/>
                <a:gd name="T110" fmla="*/ 82 w 484"/>
                <a:gd name="T111" fmla="*/ 236 h 606"/>
                <a:gd name="T112" fmla="*/ 331 w 484"/>
                <a:gd name="T113" fmla="*/ 229 h 606"/>
                <a:gd name="T114" fmla="*/ 331 w 484"/>
                <a:gd name="T115" fmla="*/ 209 h 606"/>
                <a:gd name="T116" fmla="*/ 82 w 484"/>
                <a:gd name="T117" fmla="*/ 21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7"/>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6"/>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lnTo>
                    <a:pt x="89" y="152"/>
                  </a:lnTo>
                  <a:lnTo>
                    <a:pt x="89" y="152"/>
                  </a:lnTo>
                  <a:cubicBezTo>
                    <a:pt x="118" y="152"/>
                    <a:pt x="141" y="129"/>
                    <a:pt x="141" y="100"/>
                  </a:cubicBezTo>
                  <a:lnTo>
                    <a:pt x="141" y="94"/>
                  </a:lnTo>
                  <a:lnTo>
                    <a:pt x="141" y="93"/>
                  </a:lnTo>
                  <a:lnTo>
                    <a:pt x="141" y="27"/>
                  </a:lnTo>
                  <a:lnTo>
                    <a:pt x="383" y="27"/>
                  </a:lnTo>
                  <a:cubicBezTo>
                    <a:pt x="389" y="27"/>
                    <a:pt x="394" y="32"/>
                    <a:pt x="394" y="38"/>
                  </a:cubicBezTo>
                  <a:lnTo>
                    <a:pt x="394" y="422"/>
                  </a:lnTo>
                  <a:lnTo>
                    <a:pt x="394" y="429"/>
                  </a:lnTo>
                  <a:lnTo>
                    <a:pt x="414" y="449"/>
                  </a:lnTo>
                  <a:lnTo>
                    <a:pt x="414" y="443"/>
                  </a:lnTo>
                  <a:lnTo>
                    <a:pt x="414" y="39"/>
                  </a:lnTo>
                  <a:lnTo>
                    <a:pt x="414" y="32"/>
                  </a:lnTo>
                  <a:cubicBezTo>
                    <a:pt x="414" y="14"/>
                    <a:pt x="400" y="0"/>
                    <a:pt x="383" y="0"/>
                  </a:cubicBezTo>
                  <a:lnTo>
                    <a:pt x="123" y="0"/>
                  </a:lnTo>
                  <a:lnTo>
                    <a:pt x="121" y="2"/>
                  </a:lnTo>
                  <a:lnTo>
                    <a:pt x="1" y="122"/>
                  </a:lnTo>
                  <a:lnTo>
                    <a:pt x="0" y="123"/>
                  </a:lnTo>
                  <a:lnTo>
                    <a:pt x="0" y="130"/>
                  </a:lnTo>
                  <a:lnTo>
                    <a:pt x="0" y="492"/>
                  </a:lnTo>
                  <a:lnTo>
                    <a:pt x="0" y="499"/>
                  </a:lnTo>
                  <a:cubicBezTo>
                    <a:pt x="0" y="516"/>
                    <a:pt x="14" y="530"/>
                    <a:pt x="32" y="530"/>
                  </a:cubicBezTo>
                  <a:lnTo>
                    <a:pt x="326" y="530"/>
                  </a:lnTo>
                  <a:lnTo>
                    <a:pt x="319" y="524"/>
                  </a:lnTo>
                  <a:lnTo>
                    <a:pt x="326" y="524"/>
                  </a:lnTo>
                  <a:lnTo>
                    <a:pt x="305" y="503"/>
                  </a:lnTo>
                  <a:lnTo>
                    <a:pt x="32" y="503"/>
                  </a:lnTo>
                  <a:cubicBezTo>
                    <a:pt x="25" y="503"/>
                    <a:pt x="21" y="498"/>
                    <a:pt x="20" y="492"/>
                  </a:cubicBezTo>
                  <a:lnTo>
                    <a:pt x="20" y="492"/>
                  </a:lnTo>
                  <a:lnTo>
                    <a:pt x="20" y="150"/>
                  </a:lnTo>
                  <a:close/>
                  <a:moveTo>
                    <a:pt x="82" y="321"/>
                  </a:moveTo>
                  <a:lnTo>
                    <a:pt x="156" y="321"/>
                  </a:lnTo>
                  <a:lnTo>
                    <a:pt x="156" y="315"/>
                  </a:lnTo>
                  <a:lnTo>
                    <a:pt x="156" y="301"/>
                  </a:lnTo>
                  <a:lnTo>
                    <a:pt x="156" y="294"/>
                  </a:lnTo>
                  <a:lnTo>
                    <a:pt x="82" y="294"/>
                  </a:lnTo>
                  <a:lnTo>
                    <a:pt x="82" y="301"/>
                  </a:lnTo>
                  <a:lnTo>
                    <a:pt x="82" y="315"/>
                  </a:lnTo>
                  <a:lnTo>
                    <a:pt x="82" y="321"/>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rgbClr val="FBF5E9"/>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45" name="组合 4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6961120" y="1570488"/>
            <a:ext cx="1135237" cy="1292576"/>
            <a:chOff x="9444988" y="2136853"/>
            <a:chExt cx="1544637" cy="1758718"/>
          </a:xfrm>
        </p:grpSpPr>
        <p:sp>
          <p:nvSpPr>
            <p:cNvPr id="46" name="Freeform 30"/>
            <p:cNvSpPr/>
            <p:nvPr/>
          </p:nvSpPr>
          <p:spPr bwMode="auto">
            <a:xfrm flipV="1">
              <a:off x="9444988" y="2136853"/>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47" name="圆角矩形 46"/>
            <p:cNvSpPr/>
            <p:nvPr/>
          </p:nvSpPr>
          <p:spPr>
            <a:xfrm flipV="1">
              <a:off x="9598560" y="2251156"/>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48" name="矩形 47"/>
            <p:cNvSpPr/>
            <p:nvPr/>
          </p:nvSpPr>
          <p:spPr>
            <a:xfrm>
              <a:off x="9772048" y="2177332"/>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8</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49" name="Freeform 16"/>
            <p:cNvSpPr>
              <a:spLocks noEditPoints="1"/>
            </p:cNvSpPr>
            <p:nvPr/>
          </p:nvSpPr>
          <p:spPr bwMode="auto">
            <a:xfrm>
              <a:off x="9994727" y="3033078"/>
              <a:ext cx="522847" cy="416954"/>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DF7EB"/>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50" name="组合 49"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39155" y="3207282"/>
            <a:ext cx="1135237" cy="1292576"/>
            <a:chOff x="7510219" y="4363924"/>
            <a:chExt cx="1544637" cy="1758718"/>
          </a:xfrm>
        </p:grpSpPr>
        <p:sp>
          <p:nvSpPr>
            <p:cNvPr id="51" name="Freeform 32"/>
            <p:cNvSpPr/>
            <p:nvPr/>
          </p:nvSpPr>
          <p:spPr bwMode="auto">
            <a:xfrm>
              <a:off x="7510219" y="4363924"/>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52" name="圆角矩形 51"/>
            <p:cNvSpPr/>
            <p:nvPr/>
          </p:nvSpPr>
          <p:spPr>
            <a:xfrm>
              <a:off x="7670351" y="5684859"/>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53" name="矩形 52"/>
            <p:cNvSpPr/>
            <p:nvPr/>
          </p:nvSpPr>
          <p:spPr>
            <a:xfrm>
              <a:off x="7853109" y="5627585"/>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7</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54" name="Freeform 223"/>
            <p:cNvSpPr/>
            <p:nvPr/>
          </p:nvSpPr>
          <p:spPr bwMode="auto">
            <a:xfrm>
              <a:off x="8064242" y="4769987"/>
              <a:ext cx="439249" cy="356241"/>
            </a:xfrm>
            <a:custGeom>
              <a:avLst/>
              <a:gdLst>
                <a:gd name="T0" fmla="*/ 107 w 107"/>
                <a:gd name="T1" fmla="*/ 10 h 87"/>
                <a:gd name="T2" fmla="*/ 95 w 107"/>
                <a:gd name="T3" fmla="*/ 13 h 87"/>
                <a:gd name="T4" fmla="*/ 104 w 107"/>
                <a:gd name="T5" fmla="*/ 1 h 87"/>
                <a:gd name="T6" fmla="*/ 90 w 107"/>
                <a:gd name="T7" fmla="*/ 7 h 87"/>
                <a:gd name="T8" fmla="*/ 74 w 107"/>
                <a:gd name="T9" fmla="*/ 0 h 87"/>
                <a:gd name="T10" fmla="*/ 52 w 107"/>
                <a:gd name="T11" fmla="*/ 22 h 87"/>
                <a:gd name="T12" fmla="*/ 53 w 107"/>
                <a:gd name="T13" fmla="*/ 27 h 87"/>
                <a:gd name="T14" fmla="*/ 7 w 107"/>
                <a:gd name="T15" fmla="*/ 4 h 87"/>
                <a:gd name="T16" fmla="*/ 4 w 107"/>
                <a:gd name="T17" fmla="*/ 15 h 87"/>
                <a:gd name="T18" fmla="*/ 14 w 107"/>
                <a:gd name="T19" fmla="*/ 33 h 87"/>
                <a:gd name="T20" fmla="*/ 4 w 107"/>
                <a:gd name="T21" fmla="*/ 30 h 87"/>
                <a:gd name="T22" fmla="*/ 4 w 107"/>
                <a:gd name="T23" fmla="*/ 31 h 87"/>
                <a:gd name="T24" fmla="*/ 22 w 107"/>
                <a:gd name="T25" fmla="*/ 52 h 87"/>
                <a:gd name="T26" fmla="*/ 16 w 107"/>
                <a:gd name="T27" fmla="*/ 53 h 87"/>
                <a:gd name="T28" fmla="*/ 12 w 107"/>
                <a:gd name="T29" fmla="*/ 53 h 87"/>
                <a:gd name="T30" fmla="*/ 32 w 107"/>
                <a:gd name="T31" fmla="*/ 68 h 87"/>
                <a:gd name="T32" fmla="*/ 5 w 107"/>
                <a:gd name="T33" fmla="*/ 77 h 87"/>
                <a:gd name="T34" fmla="*/ 0 w 107"/>
                <a:gd name="T35" fmla="*/ 77 h 87"/>
                <a:gd name="T36" fmla="*/ 33 w 107"/>
                <a:gd name="T37" fmla="*/ 87 h 87"/>
                <a:gd name="T38" fmla="*/ 96 w 107"/>
                <a:gd name="T39" fmla="*/ 24 h 87"/>
                <a:gd name="T40" fmla="*/ 96 w 107"/>
                <a:gd name="T41" fmla="*/ 21 h 87"/>
                <a:gd name="T42" fmla="*/ 107 w 107"/>
                <a:gd name="T43"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87">
                  <a:moveTo>
                    <a:pt x="107" y="10"/>
                  </a:moveTo>
                  <a:cubicBezTo>
                    <a:pt x="103" y="12"/>
                    <a:pt x="99" y="13"/>
                    <a:pt x="95" y="13"/>
                  </a:cubicBezTo>
                  <a:cubicBezTo>
                    <a:pt x="99" y="11"/>
                    <a:pt x="103" y="6"/>
                    <a:pt x="104" y="1"/>
                  </a:cubicBezTo>
                  <a:cubicBezTo>
                    <a:pt x="100" y="4"/>
                    <a:pt x="95" y="6"/>
                    <a:pt x="90" y="7"/>
                  </a:cubicBezTo>
                  <a:cubicBezTo>
                    <a:pt x="86" y="2"/>
                    <a:pt x="80" y="0"/>
                    <a:pt x="74" y="0"/>
                  </a:cubicBezTo>
                  <a:cubicBezTo>
                    <a:pt x="62" y="0"/>
                    <a:pt x="52" y="9"/>
                    <a:pt x="52" y="22"/>
                  </a:cubicBezTo>
                  <a:cubicBezTo>
                    <a:pt x="52" y="23"/>
                    <a:pt x="52" y="25"/>
                    <a:pt x="53" y="27"/>
                  </a:cubicBezTo>
                  <a:cubicBezTo>
                    <a:pt x="34" y="26"/>
                    <a:pt x="18" y="17"/>
                    <a:pt x="7" y="4"/>
                  </a:cubicBezTo>
                  <a:cubicBezTo>
                    <a:pt x="5" y="7"/>
                    <a:pt x="4" y="11"/>
                    <a:pt x="4" y="15"/>
                  </a:cubicBezTo>
                  <a:cubicBezTo>
                    <a:pt x="4" y="22"/>
                    <a:pt x="8" y="29"/>
                    <a:pt x="14" y="33"/>
                  </a:cubicBezTo>
                  <a:cubicBezTo>
                    <a:pt x="10" y="33"/>
                    <a:pt x="7" y="32"/>
                    <a:pt x="4" y="30"/>
                  </a:cubicBezTo>
                  <a:cubicBezTo>
                    <a:pt x="4" y="31"/>
                    <a:pt x="4" y="31"/>
                    <a:pt x="4" y="31"/>
                  </a:cubicBezTo>
                  <a:cubicBezTo>
                    <a:pt x="4" y="41"/>
                    <a:pt x="12" y="50"/>
                    <a:pt x="22" y="52"/>
                  </a:cubicBezTo>
                  <a:cubicBezTo>
                    <a:pt x="20" y="53"/>
                    <a:pt x="18" y="53"/>
                    <a:pt x="16" y="53"/>
                  </a:cubicBezTo>
                  <a:cubicBezTo>
                    <a:pt x="14" y="53"/>
                    <a:pt x="13" y="53"/>
                    <a:pt x="12" y="53"/>
                  </a:cubicBezTo>
                  <a:cubicBezTo>
                    <a:pt x="15" y="61"/>
                    <a:pt x="23" y="68"/>
                    <a:pt x="32" y="68"/>
                  </a:cubicBezTo>
                  <a:cubicBezTo>
                    <a:pt x="25" y="74"/>
                    <a:pt x="15" y="77"/>
                    <a:pt x="5" y="77"/>
                  </a:cubicBezTo>
                  <a:cubicBezTo>
                    <a:pt x="3" y="77"/>
                    <a:pt x="1" y="77"/>
                    <a:pt x="0" y="77"/>
                  </a:cubicBezTo>
                  <a:cubicBezTo>
                    <a:pt x="9" y="83"/>
                    <a:pt x="21" y="87"/>
                    <a:pt x="33" y="87"/>
                  </a:cubicBezTo>
                  <a:cubicBezTo>
                    <a:pt x="74" y="87"/>
                    <a:pt x="96" y="53"/>
                    <a:pt x="96" y="24"/>
                  </a:cubicBezTo>
                  <a:cubicBezTo>
                    <a:pt x="96" y="23"/>
                    <a:pt x="96" y="22"/>
                    <a:pt x="96" y="21"/>
                  </a:cubicBezTo>
                  <a:cubicBezTo>
                    <a:pt x="101" y="18"/>
                    <a:pt x="104" y="14"/>
                    <a:pt x="107" y="10"/>
                  </a:cubicBezTo>
                  <a:close/>
                </a:path>
              </a:pathLst>
            </a:custGeom>
            <a:solidFill>
              <a:srgbClr val="FFF9ED"/>
            </a:solidFill>
            <a:ln>
              <a:noFill/>
            </a:ln>
          </p:spPr>
          <p:txBody>
            <a:bodyPr vert="horz" wrap="square" lIns="67204" tIns="33602" rIns="67204" bIns="33602" numCol="1" anchor="t" anchorCtr="0" compatLnSpc="1"/>
            <a:lstStyle/>
            <a:p>
              <a:endParaRPr lang="zh-CN" altLang="en-US" sz="975">
                <a:solidFill>
                  <a:schemeClr val="bg1"/>
                </a:solidFill>
              </a:endParaRPr>
            </a:p>
          </p:txBody>
        </p:sp>
      </p:gr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135">
        <p14:conveyor dir="l"/>
      </p:transition>
    </mc:Choice>
    <mc:Fallback xmlns="">
      <p:transition spd="slow" advClick="0" advTm="513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par>
                          <p:cTn id="24" fill="hold">
                            <p:stCondLst>
                              <p:cond delay="1000"/>
                            </p:stCondLst>
                            <p:childTnLst>
                              <p:par>
                                <p:cTn id="25" presetID="2" presetClass="entr" presetSubtype="1" decel="3060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750" fill="hold"/>
                                        <p:tgtEl>
                                          <p:spTgt spid="28"/>
                                        </p:tgtEl>
                                        <p:attrNameLst>
                                          <p:attrName>ppt_x</p:attrName>
                                        </p:attrNameLst>
                                      </p:cBhvr>
                                      <p:tavLst>
                                        <p:tav tm="0">
                                          <p:val>
                                            <p:strVal val="#ppt_x"/>
                                          </p:val>
                                        </p:tav>
                                        <p:tav tm="100000">
                                          <p:val>
                                            <p:strVal val="#ppt_x"/>
                                          </p:val>
                                        </p:tav>
                                      </p:tavLst>
                                    </p:anim>
                                    <p:anim calcmode="lin" valueType="num">
                                      <p:cBhvr additive="base">
                                        <p:cTn id="28" dur="750" fill="hold"/>
                                        <p:tgtEl>
                                          <p:spTgt spid="28"/>
                                        </p:tgtEl>
                                        <p:attrNameLst>
                                          <p:attrName>ppt_y</p:attrName>
                                        </p:attrNameLst>
                                      </p:cBhvr>
                                      <p:tavLst>
                                        <p:tav tm="0">
                                          <p:val>
                                            <p:strVal val="0-#ppt_h/2"/>
                                          </p:val>
                                        </p:tav>
                                        <p:tav tm="100000">
                                          <p:val>
                                            <p:strVal val="#ppt_y"/>
                                          </p:val>
                                        </p:tav>
                                      </p:tavLst>
                                    </p:anim>
                                  </p:childTnLst>
                                </p:cTn>
                              </p:par>
                              <p:par>
                                <p:cTn id="29" presetID="2" presetClass="entr" presetSubtype="1" decel="30600" fill="hold" nodeType="withEffect">
                                  <p:stCondLst>
                                    <p:cond delay="25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750" fill="hold"/>
                                        <p:tgtEl>
                                          <p:spTgt spid="33"/>
                                        </p:tgtEl>
                                        <p:attrNameLst>
                                          <p:attrName>ppt_x</p:attrName>
                                        </p:attrNameLst>
                                      </p:cBhvr>
                                      <p:tavLst>
                                        <p:tav tm="0">
                                          <p:val>
                                            <p:strVal val="#ppt_x"/>
                                          </p:val>
                                        </p:tav>
                                        <p:tav tm="100000">
                                          <p:val>
                                            <p:strVal val="#ppt_x"/>
                                          </p:val>
                                        </p:tav>
                                      </p:tavLst>
                                    </p:anim>
                                    <p:anim calcmode="lin" valueType="num">
                                      <p:cBhvr additive="base">
                                        <p:cTn id="32" dur="750" fill="hold"/>
                                        <p:tgtEl>
                                          <p:spTgt spid="33"/>
                                        </p:tgtEl>
                                        <p:attrNameLst>
                                          <p:attrName>ppt_y</p:attrName>
                                        </p:attrNameLst>
                                      </p:cBhvr>
                                      <p:tavLst>
                                        <p:tav tm="0">
                                          <p:val>
                                            <p:strVal val="0-#ppt_h/2"/>
                                          </p:val>
                                        </p:tav>
                                        <p:tav tm="100000">
                                          <p:val>
                                            <p:strVal val="#ppt_y"/>
                                          </p:val>
                                        </p:tav>
                                      </p:tavLst>
                                    </p:anim>
                                  </p:childTnLst>
                                </p:cTn>
                              </p:par>
                              <p:par>
                                <p:cTn id="33" presetID="2" presetClass="entr" presetSubtype="1" decel="30600" fill="hold" nodeType="withEffect">
                                  <p:stCondLst>
                                    <p:cond delay="5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750" fill="hold"/>
                                        <p:tgtEl>
                                          <p:spTgt spid="45"/>
                                        </p:tgtEl>
                                        <p:attrNameLst>
                                          <p:attrName>ppt_x</p:attrName>
                                        </p:attrNameLst>
                                      </p:cBhvr>
                                      <p:tavLst>
                                        <p:tav tm="0">
                                          <p:val>
                                            <p:strVal val="#ppt_x"/>
                                          </p:val>
                                        </p:tav>
                                        <p:tav tm="100000">
                                          <p:val>
                                            <p:strVal val="#ppt_x"/>
                                          </p:val>
                                        </p:tav>
                                      </p:tavLst>
                                    </p:anim>
                                    <p:anim calcmode="lin" valueType="num">
                                      <p:cBhvr additive="base">
                                        <p:cTn id="36" dur="750" fill="hold"/>
                                        <p:tgtEl>
                                          <p:spTgt spid="45"/>
                                        </p:tgtEl>
                                        <p:attrNameLst>
                                          <p:attrName>ppt_y</p:attrName>
                                        </p:attrNameLst>
                                      </p:cBhvr>
                                      <p:tavLst>
                                        <p:tav tm="0">
                                          <p:val>
                                            <p:strVal val="0-#ppt_h/2"/>
                                          </p:val>
                                        </p:tav>
                                        <p:tav tm="100000">
                                          <p:val>
                                            <p:strVal val="#ppt_y"/>
                                          </p:val>
                                        </p:tav>
                                      </p:tavLst>
                                    </p:anim>
                                  </p:childTnLst>
                                </p:cTn>
                              </p:par>
                              <p:par>
                                <p:cTn id="37" presetID="2" presetClass="entr" presetSubtype="4" decel="30600" fill="hold" nodeType="withEffect">
                                  <p:stCondLst>
                                    <p:cond delay="750"/>
                                  </p:stCondLst>
                                  <p:childTnLst>
                                    <p:set>
                                      <p:cBhvr>
                                        <p:cTn id="38" dur="1" fill="hold">
                                          <p:stCondLst>
                                            <p:cond delay="0"/>
                                          </p:stCondLst>
                                        </p:cTn>
                                        <p:tgtEl>
                                          <p:spTgt spid="38"/>
                                        </p:tgtEl>
                                        <p:attrNameLst>
                                          <p:attrName>style.visibility</p:attrName>
                                        </p:attrNameLst>
                                      </p:cBhvr>
                                      <p:to>
                                        <p:strVal val="visible"/>
                                      </p:to>
                                    </p:set>
                                    <p:anim calcmode="lin" valueType="num">
                                      <p:cBhvr additive="base">
                                        <p:cTn id="39" dur="750" fill="hold"/>
                                        <p:tgtEl>
                                          <p:spTgt spid="38"/>
                                        </p:tgtEl>
                                        <p:attrNameLst>
                                          <p:attrName>ppt_x</p:attrName>
                                        </p:attrNameLst>
                                      </p:cBhvr>
                                      <p:tavLst>
                                        <p:tav tm="0">
                                          <p:val>
                                            <p:strVal val="#ppt_x"/>
                                          </p:val>
                                        </p:tav>
                                        <p:tav tm="100000">
                                          <p:val>
                                            <p:strVal val="#ppt_x"/>
                                          </p:val>
                                        </p:tav>
                                      </p:tavLst>
                                    </p:anim>
                                    <p:anim calcmode="lin" valueType="num">
                                      <p:cBhvr additive="base">
                                        <p:cTn id="40" dur="750" fill="hold"/>
                                        <p:tgtEl>
                                          <p:spTgt spid="38"/>
                                        </p:tgtEl>
                                        <p:attrNameLst>
                                          <p:attrName>ppt_y</p:attrName>
                                        </p:attrNameLst>
                                      </p:cBhvr>
                                      <p:tavLst>
                                        <p:tav tm="0">
                                          <p:val>
                                            <p:strVal val="1+#ppt_h/2"/>
                                          </p:val>
                                        </p:tav>
                                        <p:tav tm="100000">
                                          <p:val>
                                            <p:strVal val="#ppt_y"/>
                                          </p:val>
                                        </p:tav>
                                      </p:tavLst>
                                    </p:anim>
                                  </p:childTnLst>
                                </p:cTn>
                              </p:par>
                              <p:par>
                                <p:cTn id="41" presetID="2" presetClass="entr" presetSubtype="4" decel="30600" fill="hold" nodeType="withEffect">
                                  <p:stCondLst>
                                    <p:cond delay="1000"/>
                                  </p:stCondLst>
                                  <p:childTnLst>
                                    <p:set>
                                      <p:cBhvr>
                                        <p:cTn id="42" dur="1" fill="hold">
                                          <p:stCondLst>
                                            <p:cond delay="0"/>
                                          </p:stCondLst>
                                        </p:cTn>
                                        <p:tgtEl>
                                          <p:spTgt spid="50"/>
                                        </p:tgtEl>
                                        <p:attrNameLst>
                                          <p:attrName>style.visibility</p:attrName>
                                        </p:attrNameLst>
                                      </p:cBhvr>
                                      <p:to>
                                        <p:strVal val="visible"/>
                                      </p:to>
                                    </p:set>
                                    <p:anim calcmode="lin" valueType="num">
                                      <p:cBhvr additive="base">
                                        <p:cTn id="43" dur="750" fill="hold"/>
                                        <p:tgtEl>
                                          <p:spTgt spid="50"/>
                                        </p:tgtEl>
                                        <p:attrNameLst>
                                          <p:attrName>ppt_x</p:attrName>
                                        </p:attrNameLst>
                                      </p:cBhvr>
                                      <p:tavLst>
                                        <p:tav tm="0">
                                          <p:val>
                                            <p:strVal val="#ppt_x"/>
                                          </p:val>
                                        </p:tav>
                                        <p:tav tm="100000">
                                          <p:val>
                                            <p:strVal val="#ppt_x"/>
                                          </p:val>
                                        </p:tav>
                                      </p:tavLst>
                                    </p:anim>
                                    <p:anim calcmode="lin" valueType="num">
                                      <p:cBhvr additive="base">
                                        <p:cTn id="44" dur="750" fill="hold"/>
                                        <p:tgtEl>
                                          <p:spTgt spid="50"/>
                                        </p:tgtEl>
                                        <p:attrNameLst>
                                          <p:attrName>ppt_y</p:attrName>
                                        </p:attrNameLst>
                                      </p:cBhvr>
                                      <p:tavLst>
                                        <p:tav tm="0">
                                          <p:val>
                                            <p:strVal val="1+#ppt_h/2"/>
                                          </p:val>
                                        </p:tav>
                                        <p:tav tm="100000">
                                          <p:val>
                                            <p:strVal val="#ppt_y"/>
                                          </p:val>
                                        </p:tav>
                                      </p:tavLst>
                                    </p:anim>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P spid="27" grpId="0"/>
      <p:bldP spid="18" grpId="0" animBg="1"/>
      <p:bldP spid="19" grpId="0" animBg="1"/>
      <p:bldP spid="20" grpId="0" animBg="1"/>
      <p:bldP spid="21"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3245119" y="1746027"/>
            <a:ext cx="2415150" cy="851719"/>
            <a:chOff x="3038475" y="2625725"/>
            <a:chExt cx="3286125" cy="1158875"/>
          </a:xfrm>
          <a:solidFill>
            <a:srgbClr val="206DC1"/>
          </a:solidFill>
        </p:grpSpPr>
        <p:sp>
          <p:nvSpPr>
            <p:cNvPr id="19" name="任意多边形 47"/>
            <p:cNvSpPr/>
            <p:nvPr/>
          </p:nvSpPr>
          <p:spPr bwMode="auto">
            <a:xfrm rot="21480000" flipH="1">
              <a:off x="3038475" y="2651125"/>
              <a:ext cx="1901825" cy="1133475"/>
            </a:xfrm>
            <a:custGeom>
              <a:avLst/>
              <a:gdLst>
                <a:gd name="T0" fmla="*/ 0 w 2262142"/>
                <a:gd name="T1" fmla="*/ 0 h 1396256"/>
                <a:gd name="T2" fmla="*/ 74770 w 2262142"/>
                <a:gd name="T3" fmla="*/ 1396256 h 1396256"/>
                <a:gd name="T4" fmla="*/ 2262142 w 2262142"/>
                <a:gd name="T5" fmla="*/ 1396256 h 1396256"/>
                <a:gd name="T6" fmla="*/ 0 w 2262142"/>
                <a:gd name="T7" fmla="*/ 0 h 1396256"/>
                <a:gd name="T8" fmla="*/ 2262142 w 2262142"/>
                <a:gd name="T9" fmla="*/ 1396256 h 1396256"/>
              </a:gdLst>
              <a:ahLst/>
              <a:cxnLst>
                <a:cxn ang="0">
                  <a:pos x="T0" y="T1"/>
                </a:cxn>
                <a:cxn ang="0">
                  <a:pos x="T2" y="T3"/>
                </a:cxn>
                <a:cxn ang="0">
                  <a:pos x="T4" y="T5"/>
                </a:cxn>
              </a:cxnLst>
              <a:rect l="T6" t="T7" r="T8" b="T9"/>
              <a:pathLst>
                <a:path w="2262142" h="1396256">
                  <a:moveTo>
                    <a:pt x="0" y="0"/>
                  </a:moveTo>
                  <a:lnTo>
                    <a:pt x="74770" y="1396256"/>
                  </a:lnTo>
                  <a:lnTo>
                    <a:pt x="2262142" y="1396256"/>
                  </a:lnTo>
                  <a:close/>
                </a:path>
              </a:pathLst>
            </a:custGeom>
            <a:grpFill/>
            <a:ln>
              <a:noFill/>
            </a:ln>
          </p:spPr>
          <p:txBody>
            <a:bodyPr anchor="ctr"/>
            <a:lstStyle/>
            <a:p>
              <a:endParaRPr lang="zh-CN" altLang="en-US" sz="975"/>
            </a:p>
          </p:txBody>
        </p:sp>
        <p:sp>
          <p:nvSpPr>
            <p:cNvPr id="20" name="任意多边形 51"/>
            <p:cNvSpPr/>
            <p:nvPr/>
          </p:nvSpPr>
          <p:spPr bwMode="auto">
            <a:xfrm>
              <a:off x="4895850" y="2625725"/>
              <a:ext cx="1428750" cy="1133475"/>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21" name="组合 20"/>
          <p:cNvGrpSpPr/>
          <p:nvPr/>
        </p:nvGrpSpPr>
        <p:grpSpPr>
          <a:xfrm>
            <a:off x="3245120" y="2639749"/>
            <a:ext cx="2402316" cy="842386"/>
            <a:chOff x="3038475" y="3841750"/>
            <a:chExt cx="3268663" cy="1146175"/>
          </a:xfrm>
          <a:solidFill>
            <a:srgbClr val="206DC1"/>
          </a:solidFill>
        </p:grpSpPr>
        <p:sp>
          <p:nvSpPr>
            <p:cNvPr id="22" name="任意多边形 63"/>
            <p:cNvSpPr/>
            <p:nvPr/>
          </p:nvSpPr>
          <p:spPr bwMode="auto">
            <a:xfrm rot="120000" flipH="1" flipV="1">
              <a:off x="3038475" y="3841750"/>
              <a:ext cx="1901825" cy="1128713"/>
            </a:xfrm>
            <a:custGeom>
              <a:avLst/>
              <a:gdLst>
                <a:gd name="T0" fmla="*/ 1901961 w 1901961"/>
                <a:gd name="T1" fmla="*/ 1128526 h 1128526"/>
                <a:gd name="T2" fmla="*/ 62575 w 1901961"/>
                <a:gd name="T3" fmla="*/ 1128526 h 1128526"/>
                <a:gd name="T4" fmla="*/ 0 w 1901961"/>
                <a:gd name="T5" fmla="*/ 290 h 1128526"/>
                <a:gd name="T6" fmla="*/ 8289 w 1901961"/>
                <a:gd name="T7" fmla="*/ 0 h 1128526"/>
                <a:gd name="T8" fmla="*/ 0 w 1901961"/>
                <a:gd name="T9" fmla="*/ 0 h 1128526"/>
                <a:gd name="T10" fmla="*/ 1901961 w 1901961"/>
                <a:gd name="T11" fmla="*/ 1128526 h 1128526"/>
              </a:gdLst>
              <a:ahLst/>
              <a:cxnLst>
                <a:cxn ang="0">
                  <a:pos x="T0" y="T1"/>
                </a:cxn>
                <a:cxn ang="0">
                  <a:pos x="T2" y="T3"/>
                </a:cxn>
                <a:cxn ang="0">
                  <a:pos x="T4" y="T5"/>
                </a:cxn>
                <a:cxn ang="0">
                  <a:pos x="T6" y="T7"/>
                </a:cxn>
              </a:cxnLst>
              <a:rect l="T8" t="T9" r="T10" b="T11"/>
              <a:pathLst>
                <a:path w="1901961" h="1128526">
                  <a:moveTo>
                    <a:pt x="1901961" y="1128526"/>
                  </a:moveTo>
                  <a:lnTo>
                    <a:pt x="62575" y="1128526"/>
                  </a:lnTo>
                  <a:lnTo>
                    <a:pt x="0" y="290"/>
                  </a:lnTo>
                  <a:lnTo>
                    <a:pt x="8289" y="0"/>
                  </a:lnTo>
                  <a:close/>
                </a:path>
              </a:pathLst>
            </a:custGeom>
            <a:grpFill/>
            <a:ln>
              <a:noFill/>
            </a:ln>
          </p:spPr>
          <p:txBody>
            <a:bodyPr anchor="ctr"/>
            <a:lstStyle/>
            <a:p>
              <a:endParaRPr lang="zh-CN" altLang="en-US" sz="975"/>
            </a:p>
          </p:txBody>
        </p:sp>
        <p:sp>
          <p:nvSpPr>
            <p:cNvPr id="23" name="任意多边形 53"/>
            <p:cNvSpPr/>
            <p:nvPr/>
          </p:nvSpPr>
          <p:spPr bwMode="auto">
            <a:xfrm flipV="1">
              <a:off x="4878388" y="3867150"/>
              <a:ext cx="1428750" cy="1120775"/>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24" name="组合 23"/>
          <p:cNvGrpSpPr/>
          <p:nvPr/>
        </p:nvGrpSpPr>
        <p:grpSpPr>
          <a:xfrm>
            <a:off x="2855427" y="3150780"/>
            <a:ext cx="2792007" cy="1244911"/>
            <a:chOff x="2508250" y="4537075"/>
            <a:chExt cx="3798888" cy="1693863"/>
          </a:xfrm>
          <a:solidFill>
            <a:srgbClr val="206DC1"/>
          </a:solidFill>
        </p:grpSpPr>
        <p:sp>
          <p:nvSpPr>
            <p:cNvPr id="25" name="任意多边形 55"/>
            <p:cNvSpPr/>
            <p:nvPr/>
          </p:nvSpPr>
          <p:spPr bwMode="auto">
            <a:xfrm rot="13105210" flipV="1">
              <a:off x="2508250" y="4537075"/>
              <a:ext cx="3000375" cy="879475"/>
            </a:xfrm>
            <a:custGeom>
              <a:avLst/>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ah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a:effectLst>
              <a:outerShdw blurRad="50800" dist="38100" dir="2700000" algn="tl" rotWithShape="0">
                <a:prstClr val="black">
                  <a:alpha val="40000"/>
                </a:prstClr>
              </a:outerShdw>
            </a:effectLst>
          </p:spPr>
          <p:txBody>
            <a:bodyPr/>
            <a:lstStyle/>
            <a:p>
              <a:endParaRPr lang="zh-CN" altLang="en-US" sz="1470"/>
            </a:p>
          </p:txBody>
        </p:sp>
        <p:sp>
          <p:nvSpPr>
            <p:cNvPr id="26" name="任意多边形 56"/>
            <p:cNvSpPr/>
            <p:nvPr/>
          </p:nvSpPr>
          <p:spPr bwMode="auto">
            <a:xfrm flipV="1">
              <a:off x="4878388" y="5114925"/>
              <a:ext cx="1428750" cy="1116013"/>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a:effectLst>
              <a:outerShdw blurRad="50800" dist="38100" dir="2700000" algn="tl" rotWithShape="0">
                <a:prstClr val="black">
                  <a:alpha val="40000"/>
                </a:prstClr>
              </a:outerShdw>
            </a:effectLst>
          </p:spPr>
          <p:txBody>
            <a:bodyPr/>
            <a:lstStyle/>
            <a:p>
              <a:endParaRPr lang="zh-CN" altLang="en-US" sz="1470"/>
            </a:p>
          </p:txBody>
        </p:sp>
      </p:grpSp>
      <p:grpSp>
        <p:nvGrpSpPr>
          <p:cNvPr id="27" name="组合 26"/>
          <p:cNvGrpSpPr/>
          <p:nvPr/>
        </p:nvGrpSpPr>
        <p:grpSpPr>
          <a:xfrm>
            <a:off x="2855427" y="826635"/>
            <a:ext cx="2804841" cy="1250744"/>
            <a:chOff x="2508250" y="1374775"/>
            <a:chExt cx="3816350" cy="1701800"/>
          </a:xfrm>
          <a:solidFill>
            <a:srgbClr val="206DC1"/>
          </a:solidFill>
        </p:grpSpPr>
        <p:sp>
          <p:nvSpPr>
            <p:cNvPr id="28" name="任意多边形 58"/>
            <p:cNvSpPr/>
            <p:nvPr/>
          </p:nvSpPr>
          <p:spPr bwMode="auto">
            <a:xfrm rot="8494790">
              <a:off x="2508250" y="2197100"/>
              <a:ext cx="3000375" cy="879475"/>
            </a:xfrm>
            <a:custGeom>
              <a:avLst/>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ah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p:spPr>
          <p:txBody>
            <a:bodyPr anchor="ctr"/>
            <a:lstStyle/>
            <a:p>
              <a:endParaRPr lang="zh-CN" altLang="en-US" sz="975"/>
            </a:p>
          </p:txBody>
        </p:sp>
        <p:sp>
          <p:nvSpPr>
            <p:cNvPr id="29" name="任意多边形 59"/>
            <p:cNvSpPr/>
            <p:nvPr/>
          </p:nvSpPr>
          <p:spPr bwMode="auto">
            <a:xfrm>
              <a:off x="4895850" y="1374775"/>
              <a:ext cx="1428750" cy="1117600"/>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30" name="组合 27"/>
          <p:cNvGrpSpPr/>
          <p:nvPr/>
        </p:nvGrpSpPr>
        <p:grpSpPr bwMode="auto">
          <a:xfrm>
            <a:off x="2273226" y="2198721"/>
            <a:ext cx="1005729" cy="1010396"/>
            <a:chOff x="0" y="0"/>
            <a:chExt cx="1375837" cy="1380067"/>
          </a:xfrm>
          <a:solidFill>
            <a:srgbClr val="2C53B6"/>
          </a:solidFill>
        </p:grpSpPr>
        <p:grpSp>
          <p:nvGrpSpPr>
            <p:cNvPr id="31" name="组合 25"/>
            <p:cNvGrpSpPr/>
            <p:nvPr/>
          </p:nvGrpSpPr>
          <p:grpSpPr bwMode="auto">
            <a:xfrm>
              <a:off x="0" y="0"/>
              <a:ext cx="1375837" cy="1380067"/>
              <a:chOff x="0" y="0"/>
              <a:chExt cx="1375837" cy="1380067"/>
            </a:xfrm>
            <a:grpFill/>
          </p:grpSpPr>
          <p:sp>
            <p:nvSpPr>
              <p:cNvPr id="33" name="矩形 11"/>
              <p:cNvSpPr>
                <a:spLocks noChangeArrowheads="1"/>
              </p:cNvSpPr>
              <p:nvPr/>
            </p:nvSpPr>
            <p:spPr bwMode="auto">
              <a:xfrm>
                <a:off x="0" y="254000"/>
                <a:ext cx="795866" cy="626533"/>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4" name="矩形 12"/>
              <p:cNvSpPr>
                <a:spLocks noChangeArrowheads="1"/>
              </p:cNvSpPr>
              <p:nvPr/>
            </p:nvSpPr>
            <p:spPr bwMode="auto">
              <a:xfrm>
                <a:off x="0" y="0"/>
                <a:ext cx="559857" cy="254000"/>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5" name="矩形 13"/>
              <p:cNvSpPr>
                <a:spLocks noChangeArrowheads="1"/>
              </p:cNvSpPr>
              <p:nvPr/>
            </p:nvSpPr>
            <p:spPr bwMode="auto">
              <a:xfrm>
                <a:off x="829733" y="287867"/>
                <a:ext cx="29540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6" name="任意多边形 18"/>
              <p:cNvSpPr/>
              <p:nvPr/>
            </p:nvSpPr>
            <p:spPr bwMode="auto">
              <a:xfrm>
                <a:off x="1156761" y="143317"/>
                <a:ext cx="219076" cy="839485"/>
              </a:xfrm>
              <a:custGeom>
                <a:avLst/>
                <a:gdLst>
                  <a:gd name="T0" fmla="*/ 215619 w 215619"/>
                  <a:gd name="T1" fmla="*/ 0 h 839485"/>
                  <a:gd name="T2" fmla="*/ 215619 w 215619"/>
                  <a:gd name="T3" fmla="*/ 839485 h 839485"/>
                  <a:gd name="T4" fmla="*/ 0 w 215619"/>
                  <a:gd name="T5" fmla="*/ 691923 h 839485"/>
                  <a:gd name="T6" fmla="*/ 0 w 215619"/>
                  <a:gd name="T7" fmla="*/ 147562 h 839485"/>
                  <a:gd name="T8" fmla="*/ 0 w 215619"/>
                  <a:gd name="T9" fmla="*/ 0 h 839485"/>
                  <a:gd name="T10" fmla="*/ 215619 w 215619"/>
                  <a:gd name="T11" fmla="*/ 839485 h 839485"/>
                </a:gdLst>
                <a:ahLst/>
                <a:cxnLst>
                  <a:cxn ang="0">
                    <a:pos x="T0" y="T1"/>
                  </a:cxn>
                  <a:cxn ang="0">
                    <a:pos x="T2" y="T3"/>
                  </a:cxn>
                  <a:cxn ang="0">
                    <a:pos x="T4" y="T5"/>
                  </a:cxn>
                  <a:cxn ang="0">
                    <a:pos x="T6" y="T7"/>
                  </a:cxn>
                </a:cxnLst>
                <a:rect l="T8" t="T9" r="T10" b="T11"/>
                <a:pathLst>
                  <a:path w="215619" h="839485">
                    <a:moveTo>
                      <a:pt x="215619" y="0"/>
                    </a:moveTo>
                    <a:lnTo>
                      <a:pt x="215619" y="839485"/>
                    </a:lnTo>
                    <a:lnTo>
                      <a:pt x="0" y="691923"/>
                    </a:lnTo>
                    <a:lnTo>
                      <a:pt x="0" y="147562"/>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37" name="任意多边形 21"/>
              <p:cNvSpPr/>
              <p:nvPr/>
            </p:nvSpPr>
            <p:spPr bwMode="auto">
              <a:xfrm>
                <a:off x="92709" y="821266"/>
                <a:ext cx="431799" cy="558801"/>
              </a:xfrm>
              <a:custGeom>
                <a:avLst/>
                <a:gdLst>
                  <a:gd name="T0" fmla="*/ 62411 w 431799"/>
                  <a:gd name="T1" fmla="*/ 80767 h 558801"/>
                  <a:gd name="T2" fmla="*/ 62411 w 431799"/>
                  <a:gd name="T3" fmla="*/ 478032 h 558801"/>
                  <a:gd name="T4" fmla="*/ 369387 w 431799"/>
                  <a:gd name="T5" fmla="*/ 478032 h 558801"/>
                  <a:gd name="T6" fmla="*/ 369387 w 431799"/>
                  <a:gd name="T7" fmla="*/ 80767 h 558801"/>
                  <a:gd name="T8" fmla="*/ 0 w 431799"/>
                  <a:gd name="T9" fmla="*/ 0 h 558801"/>
                  <a:gd name="T10" fmla="*/ 431799 w 431799"/>
                  <a:gd name="T11" fmla="*/ 0 h 558801"/>
                  <a:gd name="T12" fmla="*/ 431799 w 431799"/>
                  <a:gd name="T13" fmla="*/ 558801 h 558801"/>
                  <a:gd name="T14" fmla="*/ 0 w 431799"/>
                  <a:gd name="T15" fmla="*/ 558801 h 558801"/>
                  <a:gd name="T16" fmla="*/ 0 w 431799"/>
                  <a:gd name="T17" fmla="*/ 0 h 558801"/>
                  <a:gd name="T18" fmla="*/ 431799 w 431799"/>
                  <a:gd name="T19" fmla="*/ 558801 h 558801"/>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431799" h="558801">
                    <a:moveTo>
                      <a:pt x="62411" y="80767"/>
                    </a:moveTo>
                    <a:lnTo>
                      <a:pt x="62411" y="478032"/>
                    </a:lnTo>
                    <a:lnTo>
                      <a:pt x="369387" y="478032"/>
                    </a:lnTo>
                    <a:lnTo>
                      <a:pt x="369387" y="80767"/>
                    </a:lnTo>
                    <a:close/>
                    <a:moveTo>
                      <a:pt x="0" y="0"/>
                    </a:moveTo>
                    <a:lnTo>
                      <a:pt x="431799" y="0"/>
                    </a:lnTo>
                    <a:lnTo>
                      <a:pt x="431799" y="558801"/>
                    </a:lnTo>
                    <a:lnTo>
                      <a:pt x="0" y="558801"/>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38" name="椭圆 22"/>
              <p:cNvSpPr>
                <a:spLocks noChangeArrowheads="1"/>
              </p:cNvSpPr>
              <p:nvPr/>
            </p:nvSpPr>
            <p:spPr bwMode="auto">
              <a:xfrm>
                <a:off x="470600" y="1004001"/>
                <a:ext cx="376066" cy="376066"/>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9" name="矩形 23"/>
              <p:cNvSpPr>
                <a:spLocks noChangeArrowheads="1"/>
              </p:cNvSpPr>
              <p:nvPr/>
            </p:nvSpPr>
            <p:spPr bwMode="auto">
              <a:xfrm>
                <a:off x="476797" y="812801"/>
                <a:ext cx="16778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grpSp>
        <p:sp>
          <p:nvSpPr>
            <p:cNvPr id="32" name="椭圆 26"/>
            <p:cNvSpPr>
              <a:spLocks noChangeAspect="1" noChangeArrowheads="1"/>
            </p:cNvSpPr>
            <p:nvPr/>
          </p:nvSpPr>
          <p:spPr bwMode="auto">
            <a:xfrm>
              <a:off x="535892" y="1071836"/>
              <a:ext cx="252000" cy="252000"/>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grpSp>
      <p:sp>
        <p:nvSpPr>
          <p:cNvPr id="41" name="矩形 40"/>
          <p:cNvSpPr/>
          <p:nvPr/>
        </p:nvSpPr>
        <p:spPr>
          <a:xfrm>
            <a:off x="6167704" y="904869"/>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44" name="矩形 43"/>
          <p:cNvSpPr/>
          <p:nvPr/>
        </p:nvSpPr>
        <p:spPr>
          <a:xfrm>
            <a:off x="6162566" y="1144670"/>
            <a:ext cx="1922313" cy="662489"/>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a:p>
            <a:pPr>
              <a:lnSpc>
                <a:spcPct val="120000"/>
              </a:lnSpc>
            </a:pP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45" name="矩形 44"/>
          <p:cNvSpPr/>
          <p:nvPr/>
        </p:nvSpPr>
        <p:spPr>
          <a:xfrm>
            <a:off x="4797482" y="1102667"/>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地产</a:t>
            </a:r>
          </a:p>
        </p:txBody>
      </p:sp>
      <p:sp>
        <p:nvSpPr>
          <p:cNvPr id="46" name="矩形 45"/>
          <p:cNvSpPr/>
          <p:nvPr/>
        </p:nvSpPr>
        <p:spPr>
          <a:xfrm>
            <a:off x="6192041" y="1772482"/>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47" name="矩形 46"/>
          <p:cNvSpPr/>
          <p:nvPr/>
        </p:nvSpPr>
        <p:spPr>
          <a:xfrm>
            <a:off x="4821819" y="1970279"/>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金融</a:t>
            </a:r>
          </a:p>
        </p:txBody>
      </p:sp>
      <p:sp>
        <p:nvSpPr>
          <p:cNvPr id="48" name="矩形 47"/>
          <p:cNvSpPr/>
          <p:nvPr/>
        </p:nvSpPr>
        <p:spPr>
          <a:xfrm>
            <a:off x="6192041" y="2696357"/>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49" name="矩形 48"/>
          <p:cNvSpPr/>
          <p:nvPr/>
        </p:nvSpPr>
        <p:spPr>
          <a:xfrm>
            <a:off x="4821819" y="2894155"/>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娱乐</a:t>
            </a:r>
          </a:p>
        </p:txBody>
      </p:sp>
      <p:sp>
        <p:nvSpPr>
          <p:cNvPr id="50" name="矩形 49"/>
          <p:cNvSpPr/>
          <p:nvPr/>
        </p:nvSpPr>
        <p:spPr>
          <a:xfrm>
            <a:off x="6205458" y="3595511"/>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51" name="矩形 50"/>
          <p:cNvSpPr/>
          <p:nvPr/>
        </p:nvSpPr>
        <p:spPr>
          <a:xfrm>
            <a:off x="4835236" y="3793309"/>
            <a:ext cx="871445" cy="409023"/>
          </a:xfrm>
          <a:prstGeom prst="rect">
            <a:avLst/>
          </a:prstGeom>
        </p:spPr>
        <p:txBody>
          <a:bodyPr wrap="square">
            <a:spAutoFit/>
          </a:bodyPr>
          <a:lstStyle/>
          <a:p>
            <a:pPr lvl="0"/>
            <a:r>
              <a:rPr lang="zh-CN" altLang="en-US" sz="2060" dirty="0">
                <a:solidFill>
                  <a:schemeClr val="bg1"/>
                </a:solidFill>
                <a:latin typeface="微软雅黑" panose="020B0503020204020204" pitchFamily="34" charset="-122"/>
                <a:ea typeface="微软雅黑" panose="020B0503020204020204" pitchFamily="34" charset="-122"/>
              </a:rPr>
              <a:t>汽车</a:t>
            </a:r>
          </a:p>
        </p:txBody>
      </p:sp>
      <p:sp>
        <p:nvSpPr>
          <p:cNvPr id="52" name="矩形 51"/>
          <p:cNvSpPr/>
          <p:nvPr/>
        </p:nvSpPr>
        <p:spPr>
          <a:xfrm>
            <a:off x="747405" y="2197293"/>
            <a:ext cx="1346587"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内容</a:t>
            </a:r>
          </a:p>
        </p:txBody>
      </p:sp>
      <p:sp>
        <p:nvSpPr>
          <p:cNvPr id="53" name="矩形 52"/>
          <p:cNvSpPr/>
          <p:nvPr/>
        </p:nvSpPr>
        <p:spPr>
          <a:xfrm>
            <a:off x="689346" y="2532694"/>
            <a:ext cx="1351724" cy="852541"/>
          </a:xfrm>
          <a:prstGeom prst="rect">
            <a:avLst/>
          </a:prstGeom>
        </p:spPr>
        <p:txBody>
          <a:bodyPr wrap="square">
            <a:spAutoFit/>
          </a:bodyPr>
          <a:lstStyle/>
          <a:p>
            <a:pPr>
              <a:lnSpc>
                <a:spcPct val="120000"/>
              </a:lnSpc>
            </a:pPr>
            <a:r>
              <a:rPr lang="zh-CN" altLang="en-US" sz="1030"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a:p>
            <a:pPr>
              <a:lnSpc>
                <a:spcPct val="120000"/>
              </a:lnSpc>
            </a:pPr>
            <a:endParaRPr lang="zh-CN" altLang="en-US" sz="1030" dirty="0">
              <a:solidFill>
                <a:srgbClr val="206DC1"/>
              </a:solidFill>
              <a:latin typeface="微软雅黑" panose="020B0503020204020204" pitchFamily="34" charset="-122"/>
              <a:ea typeface="微软雅黑" panose="020B0503020204020204" pitchFamily="34" charset="-122"/>
            </a:endParaRPr>
          </a:p>
        </p:txBody>
      </p:sp>
      <p:sp>
        <p:nvSpPr>
          <p:cNvPr id="54"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5" name="矩形 54"/>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400" advClick="0" advTm="8963">
        <p14:doors dir="vert"/>
      </p:transition>
    </mc:Choice>
    <mc:Fallback xmlns="">
      <p:transition spd="slow" advClick="0" advTm="896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iterate type="lt">
                                    <p:tmPct val="10000"/>
                                  </p:iterate>
                                  <p:childTnLst>
                                    <p:set>
                                      <p:cBhvr>
                                        <p:cTn id="6" dur="1" fill="hold">
                                          <p:stCondLst>
                                            <p:cond delay="0"/>
                                          </p:stCondLst>
                                        </p:cTn>
                                        <p:tgtEl>
                                          <p:spTgt spid="52"/>
                                        </p:tgtEl>
                                        <p:attrNameLst>
                                          <p:attrName>style.visibility</p:attrName>
                                        </p:attrNameLst>
                                      </p:cBhvr>
                                      <p:to>
                                        <p:strVal val="visible"/>
                                      </p:to>
                                    </p:set>
                                    <p:anim calcmode="lin" valueType="num">
                                      <p:cBhvr>
                                        <p:cTn id="7" dur="500" fill="hold"/>
                                        <p:tgtEl>
                                          <p:spTgt spid="52"/>
                                        </p:tgtEl>
                                        <p:attrNameLst>
                                          <p:attrName>ppt_w</p:attrName>
                                        </p:attrNameLst>
                                      </p:cBhvr>
                                      <p:tavLst>
                                        <p:tav tm="0">
                                          <p:val>
                                            <p:fltVal val="0"/>
                                          </p:val>
                                        </p:tav>
                                        <p:tav tm="100000">
                                          <p:val>
                                            <p:strVal val="#ppt_w"/>
                                          </p:val>
                                        </p:tav>
                                      </p:tavLst>
                                    </p:anim>
                                    <p:anim calcmode="lin" valueType="num">
                                      <p:cBhvr>
                                        <p:cTn id="8" dur="500" fill="hold"/>
                                        <p:tgtEl>
                                          <p:spTgt spid="52"/>
                                        </p:tgtEl>
                                        <p:attrNameLst>
                                          <p:attrName>ppt_h</p:attrName>
                                        </p:attrNameLst>
                                      </p:cBhvr>
                                      <p:tavLst>
                                        <p:tav tm="0">
                                          <p:val>
                                            <p:fltVal val="0"/>
                                          </p:val>
                                        </p:tav>
                                        <p:tav tm="100000">
                                          <p:val>
                                            <p:strVal val="#ppt_h"/>
                                          </p:val>
                                        </p:tav>
                                      </p:tavLst>
                                    </p:anim>
                                  </p:childTnLst>
                                </p:cTn>
                              </p:par>
                            </p:childTnLst>
                          </p:cTn>
                        </p:par>
                        <p:par>
                          <p:cTn id="9" fill="hold">
                            <p:stCondLst>
                              <p:cond delay="699"/>
                            </p:stCondLst>
                            <p:childTnLst>
                              <p:par>
                                <p:cTn id="10" presetID="14" presetClass="entr" presetSubtype="10" fill="hold" grpId="0" nodeType="after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randombar(horizontal)">
                                      <p:cBhvr>
                                        <p:cTn id="12" dur="250"/>
                                        <p:tgtEl>
                                          <p:spTgt spid="53"/>
                                        </p:tgtEl>
                                      </p:cBhvr>
                                    </p:animEffect>
                                  </p:childTnLst>
                                </p:cTn>
                              </p:par>
                            </p:childTnLst>
                          </p:cTn>
                        </p:par>
                        <p:par>
                          <p:cTn id="13" fill="hold">
                            <p:stCondLst>
                              <p:cond delay="1199"/>
                            </p:stCondLst>
                            <p:childTnLst>
                              <p:par>
                                <p:cTn id="14" presetID="2" presetClass="entr" presetSubtype="8"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500" fill="hold"/>
                                        <p:tgtEl>
                                          <p:spTgt spid="30"/>
                                        </p:tgtEl>
                                        <p:attrNameLst>
                                          <p:attrName>ppt_x</p:attrName>
                                        </p:attrNameLst>
                                      </p:cBhvr>
                                      <p:tavLst>
                                        <p:tav tm="0">
                                          <p:val>
                                            <p:strVal val="0-#ppt_w/2"/>
                                          </p:val>
                                        </p:tav>
                                        <p:tav tm="100000">
                                          <p:val>
                                            <p:strVal val="#ppt_x"/>
                                          </p:val>
                                        </p:tav>
                                      </p:tavLst>
                                    </p:anim>
                                    <p:anim calcmode="lin" valueType="num">
                                      <p:cBhvr additive="base">
                                        <p:cTn id="17" dur="500" fill="hold"/>
                                        <p:tgtEl>
                                          <p:spTgt spid="30"/>
                                        </p:tgtEl>
                                        <p:attrNameLst>
                                          <p:attrName>ppt_y</p:attrName>
                                        </p:attrNameLst>
                                      </p:cBhvr>
                                      <p:tavLst>
                                        <p:tav tm="0">
                                          <p:val>
                                            <p:strVal val="#ppt_y"/>
                                          </p:val>
                                        </p:tav>
                                        <p:tav tm="100000">
                                          <p:val>
                                            <p:strVal val="#ppt_y"/>
                                          </p:val>
                                        </p:tav>
                                      </p:tavLst>
                                    </p:anim>
                                  </p:childTnLst>
                                </p:cTn>
                              </p:par>
                            </p:childTnLst>
                          </p:cTn>
                        </p:par>
                        <p:par>
                          <p:cTn id="18" fill="hold">
                            <p:stCondLst>
                              <p:cond delay="1699"/>
                            </p:stCondLst>
                            <p:childTnLst>
                              <p:par>
                                <p:cTn id="19" presetID="22" presetClass="entr" presetSubtype="8"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childTnLst>
                          </p:cTn>
                        </p:par>
                        <p:par>
                          <p:cTn id="22" fill="hold">
                            <p:stCondLst>
                              <p:cond delay="2199"/>
                            </p:stCondLst>
                            <p:childTnLst>
                              <p:par>
                                <p:cTn id="23" presetID="23" presetClass="entr" presetSubtype="16" fill="hold" grpId="0" nodeType="afterEffect">
                                  <p:stCondLst>
                                    <p:cond delay="0"/>
                                  </p:stCondLst>
                                  <p:iterate type="lt">
                                    <p:tmPct val="10000"/>
                                  </p:iterate>
                                  <p:childTnLst>
                                    <p:set>
                                      <p:cBhvr>
                                        <p:cTn id="24" dur="1" fill="hold">
                                          <p:stCondLst>
                                            <p:cond delay="0"/>
                                          </p:stCondLst>
                                        </p:cTn>
                                        <p:tgtEl>
                                          <p:spTgt spid="45"/>
                                        </p:tgtEl>
                                        <p:attrNameLst>
                                          <p:attrName>style.visibility</p:attrName>
                                        </p:attrNameLst>
                                      </p:cBhvr>
                                      <p:to>
                                        <p:strVal val="visible"/>
                                      </p:to>
                                    </p:set>
                                    <p:anim calcmode="lin" valueType="num">
                                      <p:cBhvr>
                                        <p:cTn id="25" dur="500" fill="hold"/>
                                        <p:tgtEl>
                                          <p:spTgt spid="45"/>
                                        </p:tgtEl>
                                        <p:attrNameLst>
                                          <p:attrName>ppt_w</p:attrName>
                                        </p:attrNameLst>
                                      </p:cBhvr>
                                      <p:tavLst>
                                        <p:tav tm="0">
                                          <p:val>
                                            <p:fltVal val="0"/>
                                          </p:val>
                                        </p:tav>
                                        <p:tav tm="100000">
                                          <p:val>
                                            <p:strVal val="#ppt_w"/>
                                          </p:val>
                                        </p:tav>
                                      </p:tavLst>
                                    </p:anim>
                                    <p:anim calcmode="lin" valueType="num">
                                      <p:cBhvr>
                                        <p:cTn id="26" dur="500" fill="hold"/>
                                        <p:tgtEl>
                                          <p:spTgt spid="45"/>
                                        </p:tgtEl>
                                        <p:attrNameLst>
                                          <p:attrName>ppt_h</p:attrName>
                                        </p:attrNameLst>
                                      </p:cBhvr>
                                      <p:tavLst>
                                        <p:tav tm="0">
                                          <p:val>
                                            <p:fltVal val="0"/>
                                          </p:val>
                                        </p:tav>
                                        <p:tav tm="100000">
                                          <p:val>
                                            <p:strVal val="#ppt_h"/>
                                          </p:val>
                                        </p:tav>
                                      </p:tavLst>
                                    </p:anim>
                                  </p:childTnLst>
                                </p:cTn>
                              </p:par>
                            </p:childTnLst>
                          </p:cTn>
                        </p:par>
                        <p:par>
                          <p:cTn id="27" fill="hold">
                            <p:stCondLst>
                              <p:cond delay="2500"/>
                            </p:stCondLst>
                            <p:childTnLst>
                              <p:par>
                                <p:cTn id="28" presetID="23" presetClass="entr" presetSubtype="16" fill="hold" grpId="0" nodeType="afterEffect">
                                  <p:stCondLst>
                                    <p:cond delay="0"/>
                                  </p:stCondLst>
                                  <p:iterate type="lt">
                                    <p:tmPct val="10000"/>
                                  </p:iterate>
                                  <p:childTnLst>
                                    <p:set>
                                      <p:cBhvr>
                                        <p:cTn id="29" dur="1" fill="hold">
                                          <p:stCondLst>
                                            <p:cond delay="0"/>
                                          </p:stCondLst>
                                        </p:cTn>
                                        <p:tgtEl>
                                          <p:spTgt spid="41"/>
                                        </p:tgtEl>
                                        <p:attrNameLst>
                                          <p:attrName>style.visibility</p:attrName>
                                        </p:attrNameLst>
                                      </p:cBhvr>
                                      <p:to>
                                        <p:strVal val="visible"/>
                                      </p:to>
                                    </p:set>
                                    <p:anim calcmode="lin" valueType="num">
                                      <p:cBhvr>
                                        <p:cTn id="30" dur="250" fill="hold"/>
                                        <p:tgtEl>
                                          <p:spTgt spid="41"/>
                                        </p:tgtEl>
                                        <p:attrNameLst>
                                          <p:attrName>ppt_w</p:attrName>
                                        </p:attrNameLst>
                                      </p:cBhvr>
                                      <p:tavLst>
                                        <p:tav tm="0">
                                          <p:val>
                                            <p:fltVal val="0"/>
                                          </p:val>
                                        </p:tav>
                                        <p:tav tm="100000">
                                          <p:val>
                                            <p:strVal val="#ppt_w"/>
                                          </p:val>
                                        </p:tav>
                                      </p:tavLst>
                                    </p:anim>
                                    <p:anim calcmode="lin" valueType="num">
                                      <p:cBhvr>
                                        <p:cTn id="31" dur="250" fill="hold"/>
                                        <p:tgtEl>
                                          <p:spTgt spid="41"/>
                                        </p:tgtEl>
                                        <p:attrNameLst>
                                          <p:attrName>ppt_h</p:attrName>
                                        </p:attrNameLst>
                                      </p:cBhvr>
                                      <p:tavLst>
                                        <p:tav tm="0">
                                          <p:val>
                                            <p:fltVal val="0"/>
                                          </p:val>
                                        </p:tav>
                                        <p:tav tm="100000">
                                          <p:val>
                                            <p:strVal val="#ppt_h"/>
                                          </p:val>
                                        </p:tav>
                                      </p:tavLst>
                                    </p:anim>
                                  </p:childTnLst>
                                </p:cTn>
                              </p:par>
                            </p:childTnLst>
                          </p:cTn>
                        </p:par>
                        <p:par>
                          <p:cTn id="32" fill="hold">
                            <p:stCondLst>
                              <p:cond delay="2900"/>
                            </p:stCondLst>
                            <p:childTnLst>
                              <p:par>
                                <p:cTn id="33" presetID="14" presetClass="entr" presetSubtype="10" fill="hold" grpId="0"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randombar(horizontal)">
                                      <p:cBhvr>
                                        <p:cTn id="35" dur="250"/>
                                        <p:tgtEl>
                                          <p:spTgt spid="44"/>
                                        </p:tgtEl>
                                      </p:cBhvr>
                                    </p:animEffect>
                                  </p:childTnLst>
                                </p:cTn>
                              </p:par>
                            </p:childTnLst>
                          </p:cTn>
                        </p:par>
                        <p:par>
                          <p:cTn id="36" fill="hold">
                            <p:stCondLst>
                              <p:cond delay="3400"/>
                            </p:stCondLst>
                            <p:childTnLst>
                              <p:par>
                                <p:cTn id="37" presetID="22" presetClass="entr" presetSubtype="8"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left)">
                                      <p:cBhvr>
                                        <p:cTn id="39" dur="500"/>
                                        <p:tgtEl>
                                          <p:spTgt spid="18"/>
                                        </p:tgtEl>
                                      </p:cBhvr>
                                    </p:animEffect>
                                  </p:childTnLst>
                                </p:cTn>
                              </p:par>
                            </p:childTnLst>
                          </p:cTn>
                        </p:par>
                        <p:par>
                          <p:cTn id="40" fill="hold">
                            <p:stCondLst>
                              <p:cond delay="3900"/>
                            </p:stCondLst>
                            <p:childTnLst>
                              <p:par>
                                <p:cTn id="41" presetID="23" presetClass="entr" presetSubtype="16" fill="hold" grpId="0" nodeType="afterEffect">
                                  <p:stCondLst>
                                    <p:cond delay="0"/>
                                  </p:stCondLst>
                                  <p:iterate type="lt">
                                    <p:tmPct val="10000"/>
                                  </p:iterate>
                                  <p:childTnLst>
                                    <p:set>
                                      <p:cBhvr>
                                        <p:cTn id="42" dur="1" fill="hold">
                                          <p:stCondLst>
                                            <p:cond delay="0"/>
                                          </p:stCondLst>
                                        </p:cTn>
                                        <p:tgtEl>
                                          <p:spTgt spid="47"/>
                                        </p:tgtEl>
                                        <p:attrNameLst>
                                          <p:attrName>style.visibility</p:attrName>
                                        </p:attrNameLst>
                                      </p:cBhvr>
                                      <p:to>
                                        <p:strVal val="visible"/>
                                      </p:to>
                                    </p:set>
                                    <p:anim calcmode="lin" valueType="num">
                                      <p:cBhvr>
                                        <p:cTn id="43" dur="500" fill="hold"/>
                                        <p:tgtEl>
                                          <p:spTgt spid="47"/>
                                        </p:tgtEl>
                                        <p:attrNameLst>
                                          <p:attrName>ppt_w</p:attrName>
                                        </p:attrNameLst>
                                      </p:cBhvr>
                                      <p:tavLst>
                                        <p:tav tm="0">
                                          <p:val>
                                            <p:fltVal val="0"/>
                                          </p:val>
                                        </p:tav>
                                        <p:tav tm="100000">
                                          <p:val>
                                            <p:strVal val="#ppt_w"/>
                                          </p:val>
                                        </p:tav>
                                      </p:tavLst>
                                    </p:anim>
                                    <p:anim calcmode="lin" valueType="num">
                                      <p:cBhvr>
                                        <p:cTn id="44" dur="500" fill="hold"/>
                                        <p:tgtEl>
                                          <p:spTgt spid="47"/>
                                        </p:tgtEl>
                                        <p:attrNameLst>
                                          <p:attrName>ppt_h</p:attrName>
                                        </p:attrNameLst>
                                      </p:cBhvr>
                                      <p:tavLst>
                                        <p:tav tm="0">
                                          <p:val>
                                            <p:fltVal val="0"/>
                                          </p:val>
                                        </p:tav>
                                        <p:tav tm="100000">
                                          <p:val>
                                            <p:strVal val="#ppt_h"/>
                                          </p:val>
                                        </p:tav>
                                      </p:tavLst>
                                    </p:anim>
                                  </p:childTnLst>
                                </p:cTn>
                              </p:par>
                            </p:childTnLst>
                          </p:cTn>
                        </p:par>
                        <p:par>
                          <p:cTn id="45" fill="hold">
                            <p:stCondLst>
                              <p:cond delay="4199"/>
                            </p:stCondLst>
                            <p:childTnLst>
                              <p:par>
                                <p:cTn id="46" presetID="23" presetClass="entr" presetSubtype="16" fill="hold" grpId="0" nodeType="afterEffect">
                                  <p:stCondLst>
                                    <p:cond delay="0"/>
                                  </p:stCondLst>
                                  <p:iterate type="lt">
                                    <p:tmPct val="10000"/>
                                  </p:iterate>
                                  <p:childTnLst>
                                    <p:set>
                                      <p:cBhvr>
                                        <p:cTn id="47" dur="1" fill="hold">
                                          <p:stCondLst>
                                            <p:cond delay="0"/>
                                          </p:stCondLst>
                                        </p:cTn>
                                        <p:tgtEl>
                                          <p:spTgt spid="46"/>
                                        </p:tgtEl>
                                        <p:attrNameLst>
                                          <p:attrName>style.visibility</p:attrName>
                                        </p:attrNameLst>
                                      </p:cBhvr>
                                      <p:to>
                                        <p:strVal val="visible"/>
                                      </p:to>
                                    </p:set>
                                    <p:anim calcmode="lin" valueType="num">
                                      <p:cBhvr>
                                        <p:cTn id="48" dur="250" fill="hold"/>
                                        <p:tgtEl>
                                          <p:spTgt spid="46"/>
                                        </p:tgtEl>
                                        <p:attrNameLst>
                                          <p:attrName>ppt_w</p:attrName>
                                        </p:attrNameLst>
                                      </p:cBhvr>
                                      <p:tavLst>
                                        <p:tav tm="0">
                                          <p:val>
                                            <p:fltVal val="0"/>
                                          </p:val>
                                        </p:tav>
                                        <p:tav tm="100000">
                                          <p:val>
                                            <p:strVal val="#ppt_w"/>
                                          </p:val>
                                        </p:tav>
                                      </p:tavLst>
                                    </p:anim>
                                    <p:anim calcmode="lin" valueType="num">
                                      <p:cBhvr>
                                        <p:cTn id="49" dur="250" fill="hold"/>
                                        <p:tgtEl>
                                          <p:spTgt spid="46"/>
                                        </p:tgtEl>
                                        <p:attrNameLst>
                                          <p:attrName>ppt_h</p:attrName>
                                        </p:attrNameLst>
                                      </p:cBhvr>
                                      <p:tavLst>
                                        <p:tav tm="0">
                                          <p:val>
                                            <p:fltVal val="0"/>
                                          </p:val>
                                        </p:tav>
                                        <p:tav tm="100000">
                                          <p:val>
                                            <p:strVal val="#ppt_h"/>
                                          </p:val>
                                        </p:tav>
                                      </p:tavLst>
                                    </p:anim>
                                  </p:childTnLst>
                                </p:cTn>
                              </p:par>
                            </p:childTnLst>
                          </p:cTn>
                        </p:par>
                        <p:par>
                          <p:cTn id="50" fill="hold">
                            <p:stCondLst>
                              <p:cond delay="4599"/>
                            </p:stCondLst>
                            <p:childTnLst>
                              <p:par>
                                <p:cTn id="51" presetID="22" presetClass="entr" presetSubtype="8" fill="hold"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5099"/>
                            </p:stCondLst>
                            <p:childTnLst>
                              <p:par>
                                <p:cTn id="55" presetID="23" presetClass="entr" presetSubtype="16" fill="hold" grpId="0" nodeType="afterEffect">
                                  <p:stCondLst>
                                    <p:cond delay="0"/>
                                  </p:stCondLst>
                                  <p:iterate type="lt">
                                    <p:tmPct val="10000"/>
                                  </p:iterate>
                                  <p:childTnLst>
                                    <p:set>
                                      <p:cBhvr>
                                        <p:cTn id="56" dur="1" fill="hold">
                                          <p:stCondLst>
                                            <p:cond delay="0"/>
                                          </p:stCondLst>
                                        </p:cTn>
                                        <p:tgtEl>
                                          <p:spTgt spid="49"/>
                                        </p:tgtEl>
                                        <p:attrNameLst>
                                          <p:attrName>style.visibility</p:attrName>
                                        </p:attrNameLst>
                                      </p:cBhvr>
                                      <p:to>
                                        <p:strVal val="visible"/>
                                      </p:to>
                                    </p:set>
                                    <p:anim calcmode="lin" valueType="num">
                                      <p:cBhvr>
                                        <p:cTn id="57" dur="500" fill="hold"/>
                                        <p:tgtEl>
                                          <p:spTgt spid="49"/>
                                        </p:tgtEl>
                                        <p:attrNameLst>
                                          <p:attrName>ppt_w</p:attrName>
                                        </p:attrNameLst>
                                      </p:cBhvr>
                                      <p:tavLst>
                                        <p:tav tm="0">
                                          <p:val>
                                            <p:fltVal val="0"/>
                                          </p:val>
                                        </p:tav>
                                        <p:tav tm="100000">
                                          <p:val>
                                            <p:strVal val="#ppt_w"/>
                                          </p:val>
                                        </p:tav>
                                      </p:tavLst>
                                    </p:anim>
                                    <p:anim calcmode="lin" valueType="num">
                                      <p:cBhvr>
                                        <p:cTn id="58" dur="500" fill="hold"/>
                                        <p:tgtEl>
                                          <p:spTgt spid="49"/>
                                        </p:tgtEl>
                                        <p:attrNameLst>
                                          <p:attrName>ppt_h</p:attrName>
                                        </p:attrNameLst>
                                      </p:cBhvr>
                                      <p:tavLst>
                                        <p:tav tm="0">
                                          <p:val>
                                            <p:fltVal val="0"/>
                                          </p:val>
                                        </p:tav>
                                        <p:tav tm="100000">
                                          <p:val>
                                            <p:strVal val="#ppt_h"/>
                                          </p:val>
                                        </p:tav>
                                      </p:tavLst>
                                    </p:anim>
                                  </p:childTnLst>
                                </p:cTn>
                              </p:par>
                            </p:childTnLst>
                          </p:cTn>
                        </p:par>
                        <p:par>
                          <p:cTn id="59" fill="hold">
                            <p:stCondLst>
                              <p:cond delay="5649"/>
                            </p:stCondLst>
                            <p:childTnLst>
                              <p:par>
                                <p:cTn id="60" presetID="23" presetClass="entr" presetSubtype="16" fill="hold" grpId="0" nodeType="afterEffect">
                                  <p:stCondLst>
                                    <p:cond delay="0"/>
                                  </p:stCondLst>
                                  <p:iterate type="lt">
                                    <p:tmPct val="10000"/>
                                  </p:iterate>
                                  <p:childTnLst>
                                    <p:set>
                                      <p:cBhvr>
                                        <p:cTn id="61" dur="1" fill="hold">
                                          <p:stCondLst>
                                            <p:cond delay="0"/>
                                          </p:stCondLst>
                                        </p:cTn>
                                        <p:tgtEl>
                                          <p:spTgt spid="48"/>
                                        </p:tgtEl>
                                        <p:attrNameLst>
                                          <p:attrName>style.visibility</p:attrName>
                                        </p:attrNameLst>
                                      </p:cBhvr>
                                      <p:to>
                                        <p:strVal val="visible"/>
                                      </p:to>
                                    </p:set>
                                    <p:anim calcmode="lin" valueType="num">
                                      <p:cBhvr>
                                        <p:cTn id="62" dur="250" fill="hold"/>
                                        <p:tgtEl>
                                          <p:spTgt spid="48"/>
                                        </p:tgtEl>
                                        <p:attrNameLst>
                                          <p:attrName>ppt_w</p:attrName>
                                        </p:attrNameLst>
                                      </p:cBhvr>
                                      <p:tavLst>
                                        <p:tav tm="0">
                                          <p:val>
                                            <p:fltVal val="0"/>
                                          </p:val>
                                        </p:tav>
                                        <p:tav tm="100000">
                                          <p:val>
                                            <p:strVal val="#ppt_w"/>
                                          </p:val>
                                        </p:tav>
                                      </p:tavLst>
                                    </p:anim>
                                    <p:anim calcmode="lin" valueType="num">
                                      <p:cBhvr>
                                        <p:cTn id="63" dur="250" fill="hold"/>
                                        <p:tgtEl>
                                          <p:spTgt spid="48"/>
                                        </p:tgtEl>
                                        <p:attrNameLst>
                                          <p:attrName>ppt_h</p:attrName>
                                        </p:attrNameLst>
                                      </p:cBhvr>
                                      <p:tavLst>
                                        <p:tav tm="0">
                                          <p:val>
                                            <p:fltVal val="0"/>
                                          </p:val>
                                        </p:tav>
                                        <p:tav tm="100000">
                                          <p:val>
                                            <p:strVal val="#ppt_h"/>
                                          </p:val>
                                        </p:tav>
                                      </p:tavLst>
                                    </p:anim>
                                  </p:childTnLst>
                                </p:cTn>
                              </p:par>
                            </p:childTnLst>
                          </p:cTn>
                        </p:par>
                        <p:par>
                          <p:cTn id="64" fill="hold">
                            <p:stCondLst>
                              <p:cond delay="6050"/>
                            </p:stCondLst>
                            <p:childTnLst>
                              <p:par>
                                <p:cTn id="65" presetID="22" presetClass="entr" presetSubtype="8" fill="hold" nodeType="after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wipe(left)">
                                      <p:cBhvr>
                                        <p:cTn id="67" dur="500"/>
                                        <p:tgtEl>
                                          <p:spTgt spid="24"/>
                                        </p:tgtEl>
                                      </p:cBhvr>
                                    </p:animEffect>
                                  </p:childTnLst>
                                </p:cTn>
                              </p:par>
                            </p:childTnLst>
                          </p:cTn>
                        </p:par>
                        <p:par>
                          <p:cTn id="68" fill="hold">
                            <p:stCondLst>
                              <p:cond delay="6550"/>
                            </p:stCondLst>
                            <p:childTnLst>
                              <p:par>
                                <p:cTn id="69" presetID="23" presetClass="entr" presetSubtype="16" fill="hold" grpId="0" nodeType="afterEffect">
                                  <p:stCondLst>
                                    <p:cond delay="0"/>
                                  </p:stCondLst>
                                  <p:iterate type="lt">
                                    <p:tmPct val="10000"/>
                                  </p:iterate>
                                  <p:childTnLst>
                                    <p:set>
                                      <p:cBhvr>
                                        <p:cTn id="70" dur="1" fill="hold">
                                          <p:stCondLst>
                                            <p:cond delay="0"/>
                                          </p:stCondLst>
                                        </p:cTn>
                                        <p:tgtEl>
                                          <p:spTgt spid="51"/>
                                        </p:tgtEl>
                                        <p:attrNameLst>
                                          <p:attrName>style.visibility</p:attrName>
                                        </p:attrNameLst>
                                      </p:cBhvr>
                                      <p:to>
                                        <p:strVal val="visible"/>
                                      </p:to>
                                    </p:set>
                                    <p:anim calcmode="lin" valueType="num">
                                      <p:cBhvr>
                                        <p:cTn id="71" dur="500" fill="hold"/>
                                        <p:tgtEl>
                                          <p:spTgt spid="51"/>
                                        </p:tgtEl>
                                        <p:attrNameLst>
                                          <p:attrName>ppt_w</p:attrName>
                                        </p:attrNameLst>
                                      </p:cBhvr>
                                      <p:tavLst>
                                        <p:tav tm="0">
                                          <p:val>
                                            <p:fltVal val="0"/>
                                          </p:val>
                                        </p:tav>
                                        <p:tav tm="100000">
                                          <p:val>
                                            <p:strVal val="#ppt_w"/>
                                          </p:val>
                                        </p:tav>
                                      </p:tavLst>
                                    </p:anim>
                                    <p:anim calcmode="lin" valueType="num">
                                      <p:cBhvr>
                                        <p:cTn id="72" dur="500" fill="hold"/>
                                        <p:tgtEl>
                                          <p:spTgt spid="51"/>
                                        </p:tgtEl>
                                        <p:attrNameLst>
                                          <p:attrName>ppt_h</p:attrName>
                                        </p:attrNameLst>
                                      </p:cBhvr>
                                      <p:tavLst>
                                        <p:tav tm="0">
                                          <p:val>
                                            <p:fltVal val="0"/>
                                          </p:val>
                                        </p:tav>
                                        <p:tav tm="100000">
                                          <p:val>
                                            <p:strVal val="#ppt_h"/>
                                          </p:val>
                                        </p:tav>
                                      </p:tavLst>
                                    </p:anim>
                                  </p:childTnLst>
                                </p:cTn>
                              </p:par>
                            </p:childTnLst>
                          </p:cTn>
                        </p:par>
                        <p:par>
                          <p:cTn id="73" fill="hold">
                            <p:stCondLst>
                              <p:cond delay="7099"/>
                            </p:stCondLst>
                            <p:childTnLst>
                              <p:par>
                                <p:cTn id="74" presetID="23" presetClass="entr" presetSubtype="16" fill="hold" grpId="0" nodeType="afterEffect">
                                  <p:stCondLst>
                                    <p:cond delay="0"/>
                                  </p:stCondLst>
                                  <p:iterate type="lt">
                                    <p:tmPct val="10000"/>
                                  </p:iterate>
                                  <p:childTnLst>
                                    <p:set>
                                      <p:cBhvr>
                                        <p:cTn id="75" dur="1" fill="hold">
                                          <p:stCondLst>
                                            <p:cond delay="0"/>
                                          </p:stCondLst>
                                        </p:cTn>
                                        <p:tgtEl>
                                          <p:spTgt spid="50"/>
                                        </p:tgtEl>
                                        <p:attrNameLst>
                                          <p:attrName>style.visibility</p:attrName>
                                        </p:attrNameLst>
                                      </p:cBhvr>
                                      <p:to>
                                        <p:strVal val="visible"/>
                                      </p:to>
                                    </p:set>
                                    <p:anim calcmode="lin" valueType="num">
                                      <p:cBhvr>
                                        <p:cTn id="76" dur="250" fill="hold"/>
                                        <p:tgtEl>
                                          <p:spTgt spid="50"/>
                                        </p:tgtEl>
                                        <p:attrNameLst>
                                          <p:attrName>ppt_w</p:attrName>
                                        </p:attrNameLst>
                                      </p:cBhvr>
                                      <p:tavLst>
                                        <p:tav tm="0">
                                          <p:val>
                                            <p:fltVal val="0"/>
                                          </p:val>
                                        </p:tav>
                                        <p:tav tm="100000">
                                          <p:val>
                                            <p:strVal val="#ppt_w"/>
                                          </p:val>
                                        </p:tav>
                                      </p:tavLst>
                                    </p:anim>
                                    <p:anim calcmode="lin" valueType="num">
                                      <p:cBhvr>
                                        <p:cTn id="77" dur="250" fill="hold"/>
                                        <p:tgtEl>
                                          <p:spTgt spid="5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4" grpId="0"/>
      <p:bldP spid="45" grpId="0"/>
      <p:bldP spid="46" grpId="0"/>
      <p:bldP spid="47" grpId="0"/>
      <p:bldP spid="48" grpId="0"/>
      <p:bldP spid="49" grpId="0"/>
      <p:bldP spid="50" grpId="0"/>
      <p:bldP spid="51" grpId="0"/>
      <p:bldP spid="52" grpId="0"/>
      <p:bldP spid="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2709" y="1631036"/>
            <a:ext cx="3659546" cy="1219561"/>
            <a:chOff x="725512" y="2219237"/>
            <a:chExt cx="4979288" cy="1659372"/>
          </a:xfrm>
        </p:grpSpPr>
        <p:sp>
          <p:nvSpPr>
            <p:cNvPr id="19" name="任意多边形 18"/>
            <p:cNvSpPr/>
            <p:nvPr/>
          </p:nvSpPr>
          <p:spPr bwMode="auto">
            <a:xfrm flipH="1">
              <a:off x="2408099" y="2219237"/>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3879A8"/>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20" name="Freeform 28"/>
            <p:cNvSpPr/>
            <p:nvPr/>
          </p:nvSpPr>
          <p:spPr bwMode="auto">
            <a:xfrm flipH="1">
              <a:off x="725512" y="2230137"/>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21" name="Freeform 48"/>
            <p:cNvSpPr>
              <a:spLocks noEditPoints="1"/>
            </p:cNvSpPr>
            <p:nvPr/>
          </p:nvSpPr>
          <p:spPr bwMode="auto">
            <a:xfrm>
              <a:off x="1255676" y="2677758"/>
              <a:ext cx="622259" cy="595627"/>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FF9ED"/>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22" name="文本框 21"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886897" y="2583300"/>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grpSp>
      <p:grpSp>
        <p:nvGrpSpPr>
          <p:cNvPr id="23" name="组合 2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800357" y="1626648"/>
            <a:ext cx="3659546" cy="1259335"/>
            <a:chOff x="6504989" y="2213265"/>
            <a:chExt cx="4979288" cy="1713489"/>
          </a:xfrm>
        </p:grpSpPr>
        <p:sp>
          <p:nvSpPr>
            <p:cNvPr id="24" name="任意多边形 23"/>
            <p:cNvSpPr/>
            <p:nvPr/>
          </p:nvSpPr>
          <p:spPr bwMode="auto">
            <a:xfrm flipH="1">
              <a:off x="8187576" y="2213265"/>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25" name="Freeform 28"/>
            <p:cNvSpPr/>
            <p:nvPr/>
          </p:nvSpPr>
          <p:spPr bwMode="auto">
            <a:xfrm flipH="1">
              <a:off x="6504989" y="2224165"/>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dirty="0">
                <a:solidFill>
                  <a:srgbClr val="206DC1"/>
                </a:solidFill>
              </a:endParaRPr>
            </a:p>
          </p:txBody>
        </p:sp>
        <p:sp>
          <p:nvSpPr>
            <p:cNvPr id="26" name="文本框 2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8681602" y="2631445"/>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27" name="Freeform 26"/>
            <p:cNvSpPr>
              <a:spLocks noEditPoints="1"/>
            </p:cNvSpPr>
            <p:nvPr/>
          </p:nvSpPr>
          <p:spPr bwMode="auto">
            <a:xfrm>
              <a:off x="7089380" y="2725169"/>
              <a:ext cx="521795" cy="548216"/>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8EC"/>
            </a:solidFill>
            <a:ln>
              <a:noFill/>
            </a:ln>
          </p:spPr>
          <p:txBody>
            <a:bodyPr vert="horz" wrap="square" lIns="67204" tIns="33602" rIns="67204" bIns="33602" numCol="1" anchor="t" anchorCtr="0" compatLnSpc="1"/>
            <a:lstStyle/>
            <a:p>
              <a:endParaRPr lang="zh-CN" altLang="en-US" sz="975">
                <a:solidFill>
                  <a:srgbClr val="206DC1"/>
                </a:solidFill>
              </a:endParaRPr>
            </a:p>
          </p:txBody>
        </p:sp>
      </p:gr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2709" y="3303968"/>
            <a:ext cx="3659546" cy="1259335"/>
            <a:chOff x="725512" y="4495477"/>
            <a:chExt cx="4979288" cy="1713489"/>
          </a:xfrm>
        </p:grpSpPr>
        <p:sp>
          <p:nvSpPr>
            <p:cNvPr id="29" name="任意多边形 28"/>
            <p:cNvSpPr/>
            <p:nvPr/>
          </p:nvSpPr>
          <p:spPr bwMode="auto">
            <a:xfrm flipH="1">
              <a:off x="2408099" y="4495477"/>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30" name="Freeform 28"/>
            <p:cNvSpPr/>
            <p:nvPr/>
          </p:nvSpPr>
          <p:spPr bwMode="auto">
            <a:xfrm flipH="1">
              <a:off x="725512" y="4506377"/>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31" name="文本框 30"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902125" y="4913657"/>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32" name="Freeform 16"/>
            <p:cNvSpPr>
              <a:spLocks noEditPoints="1"/>
            </p:cNvSpPr>
            <p:nvPr/>
          </p:nvSpPr>
          <p:spPr bwMode="auto">
            <a:xfrm>
              <a:off x="1172616" y="4995060"/>
              <a:ext cx="705319" cy="562469"/>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BF5E9"/>
            </a:solidFill>
            <a:ln>
              <a:noFill/>
            </a:ln>
          </p:spPr>
          <p:txBody>
            <a:bodyPr vert="horz" wrap="square" lIns="67204" tIns="33602" rIns="67204" bIns="33602" numCol="1" anchor="t" anchorCtr="0" compatLnSpc="1"/>
            <a:lstStyle/>
            <a:p>
              <a:endParaRPr lang="zh-CN" altLang="en-US" sz="975">
                <a:solidFill>
                  <a:srgbClr val="206DC1"/>
                </a:solidFill>
              </a:endParaRPr>
            </a:p>
          </p:txBody>
        </p:sp>
      </p:grpSp>
      <p:grpSp>
        <p:nvGrpSpPr>
          <p:cNvPr id="33" name="组合 3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800357" y="3299578"/>
            <a:ext cx="3659546" cy="1233695"/>
            <a:chOff x="6504989" y="4489505"/>
            <a:chExt cx="4979288" cy="1678603"/>
          </a:xfrm>
        </p:grpSpPr>
        <p:sp>
          <p:nvSpPr>
            <p:cNvPr id="34" name="任意多边形 33"/>
            <p:cNvSpPr/>
            <p:nvPr/>
          </p:nvSpPr>
          <p:spPr bwMode="auto">
            <a:xfrm flipH="1">
              <a:off x="8187576" y="4489505"/>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35" name="Freeform 28"/>
            <p:cNvSpPr/>
            <p:nvPr/>
          </p:nvSpPr>
          <p:spPr bwMode="auto">
            <a:xfrm flipH="1">
              <a:off x="6504989" y="4500405"/>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dirty="0">
                <a:solidFill>
                  <a:srgbClr val="206DC1"/>
                </a:solidFill>
              </a:endParaRPr>
            </a:p>
          </p:txBody>
        </p:sp>
        <p:sp>
          <p:nvSpPr>
            <p:cNvPr id="36" name="文本框 3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8681602" y="4872799"/>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r>
                <a:rPr lang="zh-CN" altLang="en-US" sz="880"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0" dirty="0">
                <a:solidFill>
                  <a:srgbClr val="206DC1"/>
                </a:solidFill>
                <a:latin typeface="微软雅黑" panose="020B0503020204020204" pitchFamily="34" charset="-122"/>
                <a:ea typeface="微软雅黑" panose="020B0503020204020204" pitchFamily="34" charset="-122"/>
              </a:endParaRPr>
            </a:p>
            <a:p>
              <a:endParaRPr lang="en-US" altLang="zh-CN" sz="2350" dirty="0">
                <a:solidFill>
                  <a:srgbClr val="206DC1"/>
                </a:solidFill>
                <a:latin typeface="微软雅黑" panose="020B0503020204020204" pitchFamily="34" charset="-122"/>
                <a:ea typeface="微软雅黑" panose="020B0503020204020204" pitchFamily="34" charset="-122"/>
              </a:endParaRPr>
            </a:p>
          </p:txBody>
        </p:sp>
        <p:sp>
          <p:nvSpPr>
            <p:cNvPr id="37" name="Freeform 223"/>
            <p:cNvSpPr/>
            <p:nvPr/>
          </p:nvSpPr>
          <p:spPr bwMode="auto">
            <a:xfrm>
              <a:off x="7094269" y="5082079"/>
              <a:ext cx="586236" cy="475450"/>
            </a:xfrm>
            <a:custGeom>
              <a:avLst/>
              <a:gdLst>
                <a:gd name="T0" fmla="*/ 107 w 107"/>
                <a:gd name="T1" fmla="*/ 10 h 87"/>
                <a:gd name="T2" fmla="*/ 95 w 107"/>
                <a:gd name="T3" fmla="*/ 13 h 87"/>
                <a:gd name="T4" fmla="*/ 104 w 107"/>
                <a:gd name="T5" fmla="*/ 1 h 87"/>
                <a:gd name="T6" fmla="*/ 90 w 107"/>
                <a:gd name="T7" fmla="*/ 7 h 87"/>
                <a:gd name="T8" fmla="*/ 74 w 107"/>
                <a:gd name="T9" fmla="*/ 0 h 87"/>
                <a:gd name="T10" fmla="*/ 52 w 107"/>
                <a:gd name="T11" fmla="*/ 22 h 87"/>
                <a:gd name="T12" fmla="*/ 53 w 107"/>
                <a:gd name="T13" fmla="*/ 27 h 87"/>
                <a:gd name="T14" fmla="*/ 7 w 107"/>
                <a:gd name="T15" fmla="*/ 4 h 87"/>
                <a:gd name="T16" fmla="*/ 4 w 107"/>
                <a:gd name="T17" fmla="*/ 15 h 87"/>
                <a:gd name="T18" fmla="*/ 14 w 107"/>
                <a:gd name="T19" fmla="*/ 33 h 87"/>
                <a:gd name="T20" fmla="*/ 4 w 107"/>
                <a:gd name="T21" fmla="*/ 30 h 87"/>
                <a:gd name="T22" fmla="*/ 4 w 107"/>
                <a:gd name="T23" fmla="*/ 31 h 87"/>
                <a:gd name="T24" fmla="*/ 22 w 107"/>
                <a:gd name="T25" fmla="*/ 52 h 87"/>
                <a:gd name="T26" fmla="*/ 16 w 107"/>
                <a:gd name="T27" fmla="*/ 53 h 87"/>
                <a:gd name="T28" fmla="*/ 12 w 107"/>
                <a:gd name="T29" fmla="*/ 53 h 87"/>
                <a:gd name="T30" fmla="*/ 32 w 107"/>
                <a:gd name="T31" fmla="*/ 68 h 87"/>
                <a:gd name="T32" fmla="*/ 5 w 107"/>
                <a:gd name="T33" fmla="*/ 77 h 87"/>
                <a:gd name="T34" fmla="*/ 0 w 107"/>
                <a:gd name="T35" fmla="*/ 77 h 87"/>
                <a:gd name="T36" fmla="*/ 33 w 107"/>
                <a:gd name="T37" fmla="*/ 87 h 87"/>
                <a:gd name="T38" fmla="*/ 96 w 107"/>
                <a:gd name="T39" fmla="*/ 24 h 87"/>
                <a:gd name="T40" fmla="*/ 96 w 107"/>
                <a:gd name="T41" fmla="*/ 21 h 87"/>
                <a:gd name="T42" fmla="*/ 107 w 107"/>
                <a:gd name="T43"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87">
                  <a:moveTo>
                    <a:pt x="107" y="10"/>
                  </a:moveTo>
                  <a:cubicBezTo>
                    <a:pt x="103" y="12"/>
                    <a:pt x="99" y="13"/>
                    <a:pt x="95" y="13"/>
                  </a:cubicBezTo>
                  <a:cubicBezTo>
                    <a:pt x="99" y="11"/>
                    <a:pt x="103" y="6"/>
                    <a:pt x="104" y="1"/>
                  </a:cubicBezTo>
                  <a:cubicBezTo>
                    <a:pt x="100" y="4"/>
                    <a:pt x="95" y="6"/>
                    <a:pt x="90" y="7"/>
                  </a:cubicBezTo>
                  <a:cubicBezTo>
                    <a:pt x="86" y="2"/>
                    <a:pt x="80" y="0"/>
                    <a:pt x="74" y="0"/>
                  </a:cubicBezTo>
                  <a:cubicBezTo>
                    <a:pt x="62" y="0"/>
                    <a:pt x="52" y="9"/>
                    <a:pt x="52" y="22"/>
                  </a:cubicBezTo>
                  <a:cubicBezTo>
                    <a:pt x="52" y="23"/>
                    <a:pt x="52" y="25"/>
                    <a:pt x="53" y="27"/>
                  </a:cubicBezTo>
                  <a:cubicBezTo>
                    <a:pt x="34" y="26"/>
                    <a:pt x="18" y="17"/>
                    <a:pt x="7" y="4"/>
                  </a:cubicBezTo>
                  <a:cubicBezTo>
                    <a:pt x="5" y="7"/>
                    <a:pt x="4" y="11"/>
                    <a:pt x="4" y="15"/>
                  </a:cubicBezTo>
                  <a:cubicBezTo>
                    <a:pt x="4" y="22"/>
                    <a:pt x="8" y="29"/>
                    <a:pt x="14" y="33"/>
                  </a:cubicBezTo>
                  <a:cubicBezTo>
                    <a:pt x="10" y="33"/>
                    <a:pt x="7" y="32"/>
                    <a:pt x="4" y="30"/>
                  </a:cubicBezTo>
                  <a:cubicBezTo>
                    <a:pt x="4" y="31"/>
                    <a:pt x="4" y="31"/>
                    <a:pt x="4" y="31"/>
                  </a:cubicBezTo>
                  <a:cubicBezTo>
                    <a:pt x="4" y="41"/>
                    <a:pt x="12" y="50"/>
                    <a:pt x="22" y="52"/>
                  </a:cubicBezTo>
                  <a:cubicBezTo>
                    <a:pt x="20" y="53"/>
                    <a:pt x="18" y="53"/>
                    <a:pt x="16" y="53"/>
                  </a:cubicBezTo>
                  <a:cubicBezTo>
                    <a:pt x="14" y="53"/>
                    <a:pt x="13" y="53"/>
                    <a:pt x="12" y="53"/>
                  </a:cubicBezTo>
                  <a:cubicBezTo>
                    <a:pt x="15" y="61"/>
                    <a:pt x="23" y="68"/>
                    <a:pt x="32" y="68"/>
                  </a:cubicBezTo>
                  <a:cubicBezTo>
                    <a:pt x="25" y="74"/>
                    <a:pt x="15" y="77"/>
                    <a:pt x="5" y="77"/>
                  </a:cubicBezTo>
                  <a:cubicBezTo>
                    <a:pt x="3" y="77"/>
                    <a:pt x="1" y="77"/>
                    <a:pt x="0" y="77"/>
                  </a:cubicBezTo>
                  <a:cubicBezTo>
                    <a:pt x="9" y="83"/>
                    <a:pt x="21" y="87"/>
                    <a:pt x="33" y="87"/>
                  </a:cubicBezTo>
                  <a:cubicBezTo>
                    <a:pt x="74" y="87"/>
                    <a:pt x="96" y="53"/>
                    <a:pt x="96" y="24"/>
                  </a:cubicBezTo>
                  <a:cubicBezTo>
                    <a:pt x="96" y="23"/>
                    <a:pt x="96" y="22"/>
                    <a:pt x="96" y="21"/>
                  </a:cubicBezTo>
                  <a:cubicBezTo>
                    <a:pt x="101" y="18"/>
                    <a:pt x="104" y="14"/>
                    <a:pt x="107" y="10"/>
                  </a:cubicBezTo>
                  <a:close/>
                </a:path>
              </a:pathLst>
            </a:custGeom>
            <a:solidFill>
              <a:srgbClr val="FEF8E4"/>
            </a:solidFill>
            <a:ln>
              <a:noFill/>
            </a:ln>
          </p:spPr>
          <p:txBody>
            <a:bodyPr vert="horz" wrap="square" lIns="67204" tIns="33602" rIns="67204" bIns="33602" numCol="1" anchor="t" anchorCtr="0" compatLnSpc="1"/>
            <a:lstStyle/>
            <a:p>
              <a:endParaRPr lang="zh-CN" altLang="en-US" sz="975">
                <a:solidFill>
                  <a:srgbClr val="206DC1"/>
                </a:solidFill>
              </a:endParaRPr>
            </a:p>
          </p:txBody>
        </p:sp>
      </p:grpSp>
      <p:sp>
        <p:nvSpPr>
          <p:cNvPr id="3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9" name="矩形 3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advClick="0" advTm="3025">
        <p14:window dir="vert"/>
      </p:transition>
    </mc:Choice>
    <mc:Fallback xmlns="">
      <p:transition spd="slow" advClick="0" advTm="302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900" decel="100000" fill="hold"/>
                                        <p:tgtEl>
                                          <p:spTgt spid="1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25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1000"/>
                                        <p:tgtEl>
                                          <p:spTgt spid="23"/>
                                        </p:tgtEl>
                                      </p:cBhvr>
                                    </p:animEffect>
                                    <p:anim calcmode="lin" valueType="num">
                                      <p:cBhvr>
                                        <p:cTn id="14" dur="1000" fill="hold"/>
                                        <p:tgtEl>
                                          <p:spTgt spid="23"/>
                                        </p:tgtEl>
                                        <p:attrNameLst>
                                          <p:attrName>ppt_x</p:attrName>
                                        </p:attrNameLst>
                                      </p:cBhvr>
                                      <p:tavLst>
                                        <p:tav tm="0">
                                          <p:val>
                                            <p:strVal val="#ppt_x"/>
                                          </p:val>
                                        </p:tav>
                                        <p:tav tm="100000">
                                          <p:val>
                                            <p:strVal val="#ppt_x"/>
                                          </p:val>
                                        </p:tav>
                                      </p:tavLst>
                                    </p:anim>
                                    <p:anim calcmode="lin" valueType="num">
                                      <p:cBhvr>
                                        <p:cTn id="15" dur="900" decel="100000" fill="hold"/>
                                        <p:tgtEl>
                                          <p:spTgt spid="23"/>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50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1000"/>
                                        <p:tgtEl>
                                          <p:spTgt spid="28"/>
                                        </p:tgtEl>
                                      </p:cBhvr>
                                    </p:animEffect>
                                    <p:anim calcmode="lin" valueType="num">
                                      <p:cBhvr>
                                        <p:cTn id="20" dur="1000" fill="hold"/>
                                        <p:tgtEl>
                                          <p:spTgt spid="28"/>
                                        </p:tgtEl>
                                        <p:attrNameLst>
                                          <p:attrName>ppt_x</p:attrName>
                                        </p:attrNameLst>
                                      </p:cBhvr>
                                      <p:tavLst>
                                        <p:tav tm="0">
                                          <p:val>
                                            <p:strVal val="#ppt_x"/>
                                          </p:val>
                                        </p:tav>
                                        <p:tav tm="100000">
                                          <p:val>
                                            <p:strVal val="#ppt_x"/>
                                          </p:val>
                                        </p:tav>
                                      </p:tavLst>
                                    </p:anim>
                                    <p:anim calcmode="lin" valueType="num">
                                      <p:cBhvr>
                                        <p:cTn id="21" dur="900" decel="100000" fill="hold"/>
                                        <p:tgtEl>
                                          <p:spTgt spid="28"/>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75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1000"/>
                                        <p:tgtEl>
                                          <p:spTgt spid="33"/>
                                        </p:tgtEl>
                                      </p:cBhvr>
                                    </p:animEffect>
                                    <p:anim calcmode="lin" valueType="num">
                                      <p:cBhvr>
                                        <p:cTn id="26" dur="1000" fill="hold"/>
                                        <p:tgtEl>
                                          <p:spTgt spid="33"/>
                                        </p:tgtEl>
                                        <p:attrNameLst>
                                          <p:attrName>ppt_x</p:attrName>
                                        </p:attrNameLst>
                                      </p:cBhvr>
                                      <p:tavLst>
                                        <p:tav tm="0">
                                          <p:val>
                                            <p:strVal val="#ppt_x"/>
                                          </p:val>
                                        </p:tav>
                                        <p:tav tm="100000">
                                          <p:val>
                                            <p:strVal val="#ppt_x"/>
                                          </p:val>
                                        </p:tav>
                                      </p:tavLst>
                                    </p:anim>
                                    <p:anim calcmode="lin" valueType="num">
                                      <p:cBhvr>
                                        <p:cTn id="27" dur="900" decel="100000" fill="hold"/>
                                        <p:tgtEl>
                                          <p:spTgt spid="33"/>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3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工作总结计划汇报PPT.pptx1"/>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13.xml><?xml version="1.0" encoding="utf-8"?>
<p:tagLst xmlns:a="http://schemas.openxmlformats.org/drawingml/2006/main" xmlns:r="http://schemas.openxmlformats.org/officeDocument/2006/relationships" xmlns:p="http://schemas.openxmlformats.org/presentationml/2006/main">
  <p:tag name="PA" val="v3.0.1"/>
</p:tagLst>
</file>

<file path=ppt/tags/tag14.xml><?xml version="1.0" encoding="utf-8"?>
<p:tagLst xmlns:a="http://schemas.openxmlformats.org/drawingml/2006/main" xmlns:r="http://schemas.openxmlformats.org/officeDocument/2006/relationships" xmlns:p="http://schemas.openxmlformats.org/presentationml/2006/main">
  <p:tag name="TIMING" val="|4.7"/>
</p:tagLst>
</file>

<file path=ppt/tags/tag15.xml><?xml version="1.0" encoding="utf-8"?>
<p:tagLst xmlns:a="http://schemas.openxmlformats.org/drawingml/2006/main" xmlns:r="http://schemas.openxmlformats.org/officeDocument/2006/relationships" xmlns:p="http://schemas.openxmlformats.org/presentationml/2006/main">
  <p:tag name="PA" val="v3.0.1"/>
</p:tagLst>
</file>

<file path=ppt/tags/tag16.xml><?xml version="1.0" encoding="utf-8"?>
<p:tagLst xmlns:a="http://schemas.openxmlformats.org/drawingml/2006/main" xmlns:r="http://schemas.openxmlformats.org/officeDocument/2006/relationships" xmlns:p="http://schemas.openxmlformats.org/presentationml/2006/main">
  <p:tag name="PA" val="v3.0.1"/>
</p:tagLst>
</file>

<file path=ppt/tags/tag17.xml><?xml version="1.0" encoding="utf-8"?>
<p:tagLst xmlns:a="http://schemas.openxmlformats.org/drawingml/2006/main" xmlns:r="http://schemas.openxmlformats.org/officeDocument/2006/relationships" xmlns:p="http://schemas.openxmlformats.org/presentationml/2006/main">
  <p:tag name="PA" val="v3.0.1"/>
</p:tagLst>
</file>

<file path=ppt/tags/tag2.xml><?xml version="1.0" encoding="utf-8"?>
<p:tagLst xmlns:a="http://schemas.openxmlformats.org/drawingml/2006/main" xmlns:r="http://schemas.openxmlformats.org/officeDocument/2006/relationships" xmlns:p="http://schemas.openxmlformats.org/presentationml/2006/main">
  <p:tag name="TIMING" val="|4.5"/>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83</Words>
  <Application>Microsoft Office PowerPoint</Application>
  <PresentationFormat>自定义</PresentationFormat>
  <Paragraphs>291</Paragraphs>
  <Slides>30</Slides>
  <Notes>30</Notes>
  <HiddenSlides>0</HiddenSlides>
  <MMClips>0</MMClips>
  <ScaleCrop>false</ScaleCrop>
  <HeadingPairs>
    <vt:vector size="6" baseType="variant">
      <vt:variant>
        <vt:lpstr>已用的字体</vt:lpstr>
      </vt:variant>
      <vt:variant>
        <vt:i4>10</vt:i4>
      </vt:variant>
      <vt:variant>
        <vt:lpstr>主题</vt:lpstr>
      </vt:variant>
      <vt:variant>
        <vt:i4>2</vt:i4>
      </vt:variant>
      <vt:variant>
        <vt:lpstr>幻灯片标题</vt:lpstr>
      </vt:variant>
      <vt:variant>
        <vt:i4>30</vt:i4>
      </vt:variant>
    </vt:vector>
  </HeadingPairs>
  <TitlesOfParts>
    <vt:vector size="42" baseType="lpstr">
      <vt:lpstr>Charlemagne Std</vt:lpstr>
      <vt:lpstr>方正细圆简体</vt:lpstr>
      <vt:lpstr>方正姚体</vt:lpstr>
      <vt:lpstr>微软雅黑</vt:lpstr>
      <vt:lpstr>幼圆</vt:lpstr>
      <vt:lpstr>Arial</vt:lpstr>
      <vt:lpstr>Calibri</vt:lpstr>
      <vt:lpstr>Calibri Light</vt:lpstr>
      <vt:lpstr>Haettenschweiler</vt:lpstr>
      <vt:lpstr>Impact</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http://www.ypppt.com/</dc:description>
  <cp:lastModifiedBy/>
  <cp:revision>2</cp:revision>
  <dcterms:created xsi:type="dcterms:W3CDTF">2017-04-18T11:14:00Z</dcterms:created>
  <dcterms:modified xsi:type="dcterms:W3CDTF">2021-01-05T05:1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